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1839" r:id="rId5"/>
    <p:sldId id="8816" r:id="rId6"/>
    <p:sldId id="8808" r:id="rId7"/>
    <p:sldId id="2608" r:id="rId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XP" id="{9827D818-C93A-4F37-BBA5-5466D7205A3E}">
          <p14:sldIdLst>
            <p14:sldId id="1839"/>
            <p14:sldId id="8816"/>
            <p14:sldId id="8808"/>
            <p14:sldId id="2608"/>
          </p14:sldIdLst>
        </p14:section>
        <p14:section name="Slides Extras" id="{DD688AD0-0957-4C26-A5AC-B9DE73A80549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3D5"/>
    <a:srgbClr val="C2F0C2"/>
    <a:srgbClr val="F4B183"/>
    <a:srgbClr val="A2E8A2"/>
    <a:srgbClr val="9AAFCE"/>
    <a:srgbClr val="F2F2F2"/>
    <a:srgbClr val="DAF6DA"/>
    <a:srgbClr val="CFD9E7"/>
    <a:srgbClr val="BFBFB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1FDF7F-9982-4F40-8DE4-40EECBDFA11B}" v="2" dt="2021-01-15T19:59:48.9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2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003487 Tereza Salgueiro Ramalho Mendes" userId="bb2291e0-f53c-426c-bc7e-e6da289e7b4f" providerId="ADAL" clId="{4E2D14C3-4C81-4449-96AF-2D365022FBEF}"/>
    <pc:docChg chg="undo redo custSel addSld delSld modSld sldOrd modSection">
      <pc:chgData name="u003487 Tereza Salgueiro Ramalho Mendes" userId="bb2291e0-f53c-426c-bc7e-e6da289e7b4f" providerId="ADAL" clId="{4E2D14C3-4C81-4449-96AF-2D365022FBEF}" dt="2020-12-18T21:49:05.187" v="1537" actId="1037"/>
      <pc:docMkLst>
        <pc:docMk/>
      </pc:docMkLst>
      <pc:sldChg chg="addSp delSp modSp">
        <pc:chgData name="u003487 Tereza Salgueiro Ramalho Mendes" userId="bb2291e0-f53c-426c-bc7e-e6da289e7b4f" providerId="ADAL" clId="{4E2D14C3-4C81-4449-96AF-2D365022FBEF}" dt="2020-12-18T20:48:12.100" v="865" actId="1035"/>
        <pc:sldMkLst>
          <pc:docMk/>
          <pc:sldMk cId="1325684358" sldId="2586"/>
        </pc:sldMkLst>
        <pc:spChg chg="add mod ord">
          <ac:chgData name="u003487 Tereza Salgueiro Ramalho Mendes" userId="bb2291e0-f53c-426c-bc7e-e6da289e7b4f" providerId="ADAL" clId="{4E2D14C3-4C81-4449-96AF-2D365022FBEF}" dt="2020-12-18T19:43:13.797" v="366" actId="164"/>
          <ac:spMkLst>
            <pc:docMk/>
            <pc:sldMk cId="1325684358" sldId="2586"/>
            <ac:spMk id="6" creationId="{4F6C1AC9-98C7-44CE-A9B2-BCEE9C4A44D3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9" creationId="{B18420D9-4D8B-4FF7-BDD1-0CF69F57DE81}"/>
          </ac:spMkLst>
        </pc:spChg>
        <pc:spChg chg="mod">
          <ac:chgData name="u003487 Tereza Salgueiro Ramalho Mendes" userId="bb2291e0-f53c-426c-bc7e-e6da289e7b4f" providerId="ADAL" clId="{4E2D14C3-4C81-4449-96AF-2D365022FBEF}" dt="2020-12-18T19:44:11.850" v="399" actId="1035"/>
          <ac:spMkLst>
            <pc:docMk/>
            <pc:sldMk cId="1325684358" sldId="2586"/>
            <ac:spMk id="21" creationId="{483B693C-D8D0-4527-95B2-9B339E3FC4B4}"/>
          </ac:spMkLst>
        </pc:spChg>
        <pc:spChg chg="mod">
          <ac:chgData name="u003487 Tereza Salgueiro Ramalho Mendes" userId="bb2291e0-f53c-426c-bc7e-e6da289e7b4f" providerId="ADAL" clId="{4E2D14C3-4C81-4449-96AF-2D365022FBEF}" dt="2020-12-18T19:44:09.852" v="398" actId="1035"/>
          <ac:spMkLst>
            <pc:docMk/>
            <pc:sldMk cId="1325684358" sldId="2586"/>
            <ac:spMk id="22" creationId="{E060B505-35F3-4C33-BF48-454E392F65A2}"/>
          </ac:spMkLst>
        </pc:spChg>
        <pc:spChg chg="del mod">
          <ac:chgData name="u003487 Tereza Salgueiro Ramalho Mendes" userId="bb2291e0-f53c-426c-bc7e-e6da289e7b4f" providerId="ADAL" clId="{4E2D14C3-4C81-4449-96AF-2D365022FBEF}" dt="2020-12-18T19:58:40.996" v="430" actId="478"/>
          <ac:spMkLst>
            <pc:docMk/>
            <pc:sldMk cId="1325684358" sldId="2586"/>
            <ac:spMk id="23" creationId="{299DE8CD-89A7-4303-8009-D673B59C69F9}"/>
          </ac:spMkLst>
        </pc:spChg>
        <pc:spChg chg="del mod">
          <ac:chgData name="u003487 Tereza Salgueiro Ramalho Mendes" userId="bb2291e0-f53c-426c-bc7e-e6da289e7b4f" providerId="ADAL" clId="{4E2D14C3-4C81-4449-96AF-2D365022FBEF}" dt="2020-12-18T19:58:40.996" v="430" actId="478"/>
          <ac:spMkLst>
            <pc:docMk/>
            <pc:sldMk cId="1325684358" sldId="2586"/>
            <ac:spMk id="24" creationId="{84606046-6D83-4263-BCE5-D18F6E7240AD}"/>
          </ac:spMkLst>
        </pc:spChg>
        <pc:spChg chg="mod">
          <ac:chgData name="u003487 Tereza Salgueiro Ramalho Mendes" userId="bb2291e0-f53c-426c-bc7e-e6da289e7b4f" providerId="ADAL" clId="{4E2D14C3-4C81-4449-96AF-2D365022FBEF}" dt="2020-12-18T20:30:44.177" v="548" actId="113"/>
          <ac:spMkLst>
            <pc:docMk/>
            <pc:sldMk cId="1325684358" sldId="2586"/>
            <ac:spMk id="25" creationId="{C61B2CB8-D014-4528-9E2D-BCE3269758B2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5:58.453" v="470" actId="478"/>
          <ac:spMkLst>
            <pc:docMk/>
            <pc:sldMk cId="1325684358" sldId="2586"/>
            <ac:spMk id="26" creationId="{EA4BDB3F-63A4-478E-A018-9E476F7A3095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5:58.453" v="470" actId="478"/>
          <ac:spMkLst>
            <pc:docMk/>
            <pc:sldMk cId="1325684358" sldId="2586"/>
            <ac:spMk id="27" creationId="{694A00F1-BD63-438F-92EE-3B043DA5E5E8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5:58.453" v="470" actId="478"/>
          <ac:spMkLst>
            <pc:docMk/>
            <pc:sldMk cId="1325684358" sldId="2586"/>
            <ac:spMk id="28" creationId="{3CDBFB40-DD9E-429A-A240-B769BC0B1502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5:58.453" v="470" actId="478"/>
          <ac:spMkLst>
            <pc:docMk/>
            <pc:sldMk cId="1325684358" sldId="2586"/>
            <ac:spMk id="29" creationId="{B5D394A7-F25A-452B-8600-A2B3DB0656D2}"/>
          </ac:spMkLst>
        </pc:spChg>
        <pc:spChg chg="mod">
          <ac:chgData name="u003487 Tereza Salgueiro Ramalho Mendes" userId="bb2291e0-f53c-426c-bc7e-e6da289e7b4f" providerId="ADAL" clId="{4E2D14C3-4C81-4449-96AF-2D365022FBEF}" dt="2020-12-18T20:25:45.243" v="465" actId="1076"/>
          <ac:spMkLst>
            <pc:docMk/>
            <pc:sldMk cId="1325684358" sldId="2586"/>
            <ac:spMk id="30" creationId="{D8D5A477-74FA-430C-BD91-80427500892C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7:41.435" v="486" actId="478"/>
          <ac:spMkLst>
            <pc:docMk/>
            <pc:sldMk cId="1325684358" sldId="2586"/>
            <ac:spMk id="33" creationId="{87B3AD2F-4C40-42AD-90EE-AC46B8B59E0A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7:41.435" v="486" actId="478"/>
          <ac:spMkLst>
            <pc:docMk/>
            <pc:sldMk cId="1325684358" sldId="2586"/>
            <ac:spMk id="34" creationId="{6FFAF3A4-E967-4B51-AF55-21DCE9DA3E64}"/>
          </ac:spMkLst>
        </pc:spChg>
        <pc:spChg chg="add del mod ord">
          <ac:chgData name="u003487 Tereza Salgueiro Ramalho Mendes" userId="bb2291e0-f53c-426c-bc7e-e6da289e7b4f" providerId="ADAL" clId="{4E2D14C3-4C81-4449-96AF-2D365022FBEF}" dt="2020-12-18T19:38:40.370" v="318" actId="478"/>
          <ac:spMkLst>
            <pc:docMk/>
            <pc:sldMk cId="1325684358" sldId="2586"/>
            <ac:spMk id="37" creationId="{03E8DDFD-86EE-4122-9C32-1CC46CD8C8E5}"/>
          </ac:spMkLst>
        </pc:spChg>
        <pc:spChg chg="mod">
          <ac:chgData name="u003487 Tereza Salgueiro Ramalho Mendes" userId="bb2291e0-f53c-426c-bc7e-e6da289e7b4f" providerId="ADAL" clId="{4E2D14C3-4C81-4449-96AF-2D365022FBEF}" dt="2020-12-18T19:58:38.416" v="429" actId="1037"/>
          <ac:spMkLst>
            <pc:docMk/>
            <pc:sldMk cId="1325684358" sldId="2586"/>
            <ac:spMk id="42" creationId="{EFB4728C-2561-42BD-857F-DD265CDD4A25}"/>
          </ac:spMkLst>
        </pc:spChg>
        <pc:spChg chg="mod">
          <ac:chgData name="u003487 Tereza Salgueiro Ramalho Mendes" userId="bb2291e0-f53c-426c-bc7e-e6da289e7b4f" providerId="ADAL" clId="{4E2D14C3-4C81-4449-96AF-2D365022FBEF}" dt="2020-12-18T20:02:17.622" v="464" actId="20577"/>
          <ac:spMkLst>
            <pc:docMk/>
            <pc:sldMk cId="1325684358" sldId="2586"/>
            <ac:spMk id="43" creationId="{CCE7EA1B-74C0-46D9-9790-FC619BBA45DD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45" creationId="{17235E70-09A4-446B-853F-EDDDB89804B0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46" creationId="{32D4E718-DC2E-4B27-AD40-F485566B306E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47" creationId="{936A455C-8D05-4BEB-A6AF-F034012B7911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48" creationId="{D7284F33-EA6D-4435-82F2-9358950EAAE1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49" creationId="{B9A077D0-4CEE-4C33-8AD7-8F52C68756E4}"/>
          </ac:spMkLst>
        </pc:spChg>
        <pc:spChg chg="del">
          <ac:chgData name="u003487 Tereza Salgueiro Ramalho Mendes" userId="bb2291e0-f53c-426c-bc7e-e6da289e7b4f" providerId="ADAL" clId="{4E2D14C3-4C81-4449-96AF-2D365022FBEF}" dt="2020-12-18T19:58:46.517" v="432" actId="478"/>
          <ac:spMkLst>
            <pc:docMk/>
            <pc:sldMk cId="1325684358" sldId="2586"/>
            <ac:spMk id="50" creationId="{11FAFF58-F671-4754-A6A7-457C4BD9ECC3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51" creationId="{05B73E95-7454-4CB8-8028-4A2077CC7D72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52" creationId="{901F6FC1-CBAB-4F7F-B576-815226B67546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53" creationId="{BA472FBE-E92C-4D4C-B665-9ECFAF8F5437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5:58.453" v="470" actId="478"/>
          <ac:spMkLst>
            <pc:docMk/>
            <pc:sldMk cId="1325684358" sldId="2586"/>
            <ac:spMk id="55" creationId="{7323DA5A-4408-426A-91E1-0F83AC1B4AF1}"/>
          </ac:spMkLst>
        </pc:spChg>
        <pc:spChg chg="mod">
          <ac:chgData name="u003487 Tereza Salgueiro Ramalho Mendes" userId="bb2291e0-f53c-426c-bc7e-e6da289e7b4f" providerId="ADAL" clId="{4E2D14C3-4C81-4449-96AF-2D365022FBEF}" dt="2020-12-18T20:26:41.845" v="476" actId="14100"/>
          <ac:spMkLst>
            <pc:docMk/>
            <pc:sldMk cId="1325684358" sldId="2586"/>
            <ac:spMk id="59" creationId="{5FAA9B5E-5BC5-450C-9FE2-C5C73C99FB00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61" creationId="{8F033D96-E1CF-4ECC-B50B-B59353EA5E4E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62" creationId="{F2862FA3-A93D-4652-B3F8-17A95E2FAAFD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63" creationId="{9B934DA4-C556-4E18-98A1-C16497C5F566}"/>
          </ac:spMkLst>
        </pc:spChg>
        <pc:spChg chg="mod">
          <ac:chgData name="u003487 Tereza Salgueiro Ramalho Mendes" userId="bb2291e0-f53c-426c-bc7e-e6da289e7b4f" providerId="ADAL" clId="{4E2D14C3-4C81-4449-96AF-2D365022FBEF}" dt="2020-12-18T20:26:46.943" v="482" actId="403"/>
          <ac:spMkLst>
            <pc:docMk/>
            <pc:sldMk cId="1325684358" sldId="2586"/>
            <ac:spMk id="66" creationId="{46CEDF37-3084-4DCE-B06F-58C3B59DC869}"/>
          </ac:spMkLst>
        </pc:spChg>
        <pc:spChg chg="add mod">
          <ac:chgData name="u003487 Tereza Salgueiro Ramalho Mendes" userId="bb2291e0-f53c-426c-bc7e-e6da289e7b4f" providerId="ADAL" clId="{4E2D14C3-4C81-4449-96AF-2D365022FBEF}" dt="2020-12-18T20:36:30.118" v="697" actId="1076"/>
          <ac:spMkLst>
            <pc:docMk/>
            <pc:sldMk cId="1325684358" sldId="2586"/>
            <ac:spMk id="67" creationId="{F8E2DBA4-F6C8-42E2-989C-B85F50D12630}"/>
          </ac:spMkLst>
        </pc:spChg>
        <pc:spChg chg="add mod">
          <ac:chgData name="u003487 Tereza Salgueiro Ramalho Mendes" userId="bb2291e0-f53c-426c-bc7e-e6da289e7b4f" providerId="ADAL" clId="{4E2D14C3-4C81-4449-96AF-2D365022FBEF}" dt="2020-12-18T20:48:12.100" v="865" actId="1035"/>
          <ac:spMkLst>
            <pc:docMk/>
            <pc:sldMk cId="1325684358" sldId="2586"/>
            <ac:spMk id="68" creationId="{214DA3BC-3096-40ED-A081-ADCBBFCD3FAF}"/>
          </ac:spMkLst>
        </pc:spChg>
        <pc:spChg chg="add mod">
          <ac:chgData name="u003487 Tereza Salgueiro Ramalho Mendes" userId="bb2291e0-f53c-426c-bc7e-e6da289e7b4f" providerId="ADAL" clId="{4E2D14C3-4C81-4449-96AF-2D365022FBEF}" dt="2020-12-18T20:46:54.960" v="846" actId="1076"/>
          <ac:spMkLst>
            <pc:docMk/>
            <pc:sldMk cId="1325684358" sldId="2586"/>
            <ac:spMk id="70" creationId="{B1B4380F-2213-49F1-A80F-85C2C55052DA}"/>
          </ac:spMkLst>
        </pc:spChg>
        <pc:spChg chg="add mod">
          <ac:chgData name="u003487 Tereza Salgueiro Ramalho Mendes" userId="bb2291e0-f53c-426c-bc7e-e6da289e7b4f" providerId="ADAL" clId="{4E2D14C3-4C81-4449-96AF-2D365022FBEF}" dt="2020-12-18T20:47:13.869" v="861" actId="1076"/>
          <ac:spMkLst>
            <pc:docMk/>
            <pc:sldMk cId="1325684358" sldId="2586"/>
            <ac:spMk id="71" creationId="{E37BA5B6-5C66-412E-AC29-3B1D457B5961}"/>
          </ac:spMkLst>
        </pc:spChg>
        <pc:spChg chg="add mod">
          <ac:chgData name="u003487 Tereza Salgueiro Ramalho Mendes" userId="bb2291e0-f53c-426c-bc7e-e6da289e7b4f" providerId="ADAL" clId="{4E2D14C3-4C81-4449-96AF-2D365022FBEF}" dt="2020-12-18T20:47:27.185" v="863" actId="1076"/>
          <ac:spMkLst>
            <pc:docMk/>
            <pc:sldMk cId="1325684358" sldId="2586"/>
            <ac:spMk id="72" creationId="{EEE4EBA0-DC80-47F3-BEDE-A27DC749CCC1}"/>
          </ac:spMkLst>
        </pc:spChg>
        <pc:spChg chg="del">
          <ac:chgData name="u003487 Tereza Salgueiro Ramalho Mendes" userId="bb2291e0-f53c-426c-bc7e-e6da289e7b4f" providerId="ADAL" clId="{4E2D14C3-4C81-4449-96AF-2D365022FBEF}" dt="2020-12-18T19:58:44.315" v="431" actId="478"/>
          <ac:spMkLst>
            <pc:docMk/>
            <pc:sldMk cId="1325684358" sldId="2586"/>
            <ac:spMk id="77" creationId="{C2DE199B-22C6-41FE-A344-08EA200C296D}"/>
          </ac:spMkLst>
        </pc:spChg>
        <pc:spChg chg="del">
          <ac:chgData name="u003487 Tereza Salgueiro Ramalho Mendes" userId="bb2291e0-f53c-426c-bc7e-e6da289e7b4f" providerId="ADAL" clId="{4E2D14C3-4C81-4449-96AF-2D365022FBEF}" dt="2020-12-18T19:58:44.315" v="431" actId="478"/>
          <ac:spMkLst>
            <pc:docMk/>
            <pc:sldMk cId="1325684358" sldId="2586"/>
            <ac:spMk id="78" creationId="{D8BA5B42-82D6-4869-8E4F-45DD5C7C8DE1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7:41.435" v="486" actId="478"/>
          <ac:spMkLst>
            <pc:docMk/>
            <pc:sldMk cId="1325684358" sldId="2586"/>
            <ac:spMk id="84" creationId="{4969696D-A320-4780-A405-F6CC983B0C92}"/>
          </ac:spMkLst>
        </pc:spChg>
        <pc:spChg chg="del mod">
          <ac:chgData name="u003487 Tereza Salgueiro Ramalho Mendes" userId="bb2291e0-f53c-426c-bc7e-e6da289e7b4f" providerId="ADAL" clId="{4E2D14C3-4C81-4449-96AF-2D365022FBEF}" dt="2020-12-18T20:27:41.435" v="486" actId="478"/>
          <ac:spMkLst>
            <pc:docMk/>
            <pc:sldMk cId="1325684358" sldId="2586"/>
            <ac:spMk id="86" creationId="{B892D46C-D6F2-4D0B-BC90-86F5F5A33559}"/>
          </ac:spMkLst>
        </pc:spChg>
        <pc:grpChg chg="add mod">
          <ac:chgData name="u003487 Tereza Salgueiro Ramalho Mendes" userId="bb2291e0-f53c-426c-bc7e-e6da289e7b4f" providerId="ADAL" clId="{4E2D14C3-4C81-4449-96AF-2D365022FBEF}" dt="2020-12-18T19:44:25.252" v="405" actId="1037"/>
          <ac:grpSpMkLst>
            <pc:docMk/>
            <pc:sldMk cId="1325684358" sldId="2586"/>
            <ac:grpSpMk id="8" creationId="{B98F1AA4-AAB4-49E6-AF5B-77F89CEDE85E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19:44:25.252" v="405" actId="1037"/>
          <ac:grpSpMkLst>
            <pc:docMk/>
            <pc:sldMk cId="1325684358" sldId="2586"/>
            <ac:grpSpMk id="40" creationId="{8AFA5EDD-9E41-4FA0-A965-A5700DECE7D9}"/>
          </ac:grpSpMkLst>
        </pc:grpChg>
        <pc:grpChg chg="mod">
          <ac:chgData name="u003487 Tereza Salgueiro Ramalho Mendes" userId="bb2291e0-f53c-426c-bc7e-e6da289e7b4f" providerId="ADAL" clId="{4E2D14C3-4C81-4449-96AF-2D365022FBEF}" dt="2020-12-18T20:26:33.912" v="474" actId="1036"/>
          <ac:grpSpMkLst>
            <pc:docMk/>
            <pc:sldMk cId="1325684358" sldId="2586"/>
            <ac:grpSpMk id="56" creationId="{3E8B4AD0-3BDD-4F5A-9C6C-58C724FDD305}"/>
          </ac:grpSpMkLst>
        </pc:grpChg>
        <pc:grpChg chg="mod">
          <ac:chgData name="u003487 Tereza Salgueiro Ramalho Mendes" userId="bb2291e0-f53c-426c-bc7e-e6da289e7b4f" providerId="ADAL" clId="{4E2D14C3-4C81-4449-96AF-2D365022FBEF}" dt="2020-12-18T20:26:44.109" v="481" actId="1038"/>
          <ac:grpSpMkLst>
            <pc:docMk/>
            <pc:sldMk cId="1325684358" sldId="2586"/>
            <ac:grpSpMk id="64" creationId="{3BD949F4-8811-40CA-B3B6-45269F426009}"/>
          </ac:grpSpMkLst>
        </pc:grpChg>
        <pc:grpChg chg="del">
          <ac:chgData name="u003487 Tereza Salgueiro Ramalho Mendes" userId="bb2291e0-f53c-426c-bc7e-e6da289e7b4f" providerId="ADAL" clId="{4E2D14C3-4C81-4449-96AF-2D365022FBEF}" dt="2020-12-18T19:38:33.850" v="316" actId="478"/>
          <ac:grpSpMkLst>
            <pc:docMk/>
            <pc:sldMk cId="1325684358" sldId="2586"/>
            <ac:grpSpMk id="120" creationId="{60EEAC3B-F2B5-4626-BD55-A0361A602F15}"/>
          </ac:grpSpMkLst>
        </pc:grpChg>
        <pc:graphicFrameChg chg="mod modGraphic">
          <ac:chgData name="u003487 Tereza Salgueiro Ramalho Mendes" userId="bb2291e0-f53c-426c-bc7e-e6da289e7b4f" providerId="ADAL" clId="{4E2D14C3-4C81-4449-96AF-2D365022FBEF}" dt="2020-12-18T20:44:24.073" v="779" actId="20577"/>
          <ac:graphicFrameMkLst>
            <pc:docMk/>
            <pc:sldMk cId="1325684358" sldId="2586"/>
            <ac:graphicFrameMk id="7" creationId="{16CB7E22-3BAD-4002-B248-E208A823C213}"/>
          </ac:graphicFrameMkLst>
        </pc:graphicFrameChg>
        <pc:graphicFrameChg chg="del mod modGraphic">
          <ac:chgData name="u003487 Tereza Salgueiro Ramalho Mendes" userId="bb2291e0-f53c-426c-bc7e-e6da289e7b4f" providerId="ADAL" clId="{4E2D14C3-4C81-4449-96AF-2D365022FBEF}" dt="2020-12-18T20:27:41.435" v="486" actId="478"/>
          <ac:graphicFrameMkLst>
            <pc:docMk/>
            <pc:sldMk cId="1325684358" sldId="2586"/>
            <ac:graphicFrameMk id="32" creationId="{0A256015-4EF3-4D4A-BF36-9BE0C0FECD74}"/>
          </ac:graphicFrameMkLst>
        </pc:graphicFrameChg>
        <pc:cxnChg chg="add del mod">
          <ac:chgData name="u003487 Tereza Salgueiro Ramalho Mendes" userId="bb2291e0-f53c-426c-bc7e-e6da289e7b4f" providerId="ADAL" clId="{4E2D14C3-4C81-4449-96AF-2D365022FBEF}" dt="2020-12-18T19:33:56.385" v="205" actId="478"/>
          <ac:cxnSpMkLst>
            <pc:docMk/>
            <pc:sldMk cId="1325684358" sldId="2586"/>
            <ac:cxnSpMk id="5" creationId="{C52B9D47-277A-4766-A3AC-EF712E0ABA13}"/>
          </ac:cxnSpMkLst>
        </pc:cxnChg>
        <pc:cxnChg chg="add mod">
          <ac:chgData name="u003487 Tereza Salgueiro Ramalho Mendes" userId="bb2291e0-f53c-426c-bc7e-e6da289e7b4f" providerId="ADAL" clId="{4E2D14C3-4C81-4449-96AF-2D365022FBEF}" dt="2020-12-18T20:36:30.118" v="697" actId="1076"/>
          <ac:cxnSpMkLst>
            <pc:docMk/>
            <pc:sldMk cId="1325684358" sldId="2586"/>
            <ac:cxnSpMk id="11" creationId="{792339BF-4F53-4F11-8412-CD287D052A87}"/>
          </ac:cxnSpMkLst>
        </pc:cxnChg>
        <pc:cxnChg chg="add mod">
          <ac:chgData name="u003487 Tereza Salgueiro Ramalho Mendes" userId="bb2291e0-f53c-426c-bc7e-e6da289e7b4f" providerId="ADAL" clId="{4E2D14C3-4C81-4449-96AF-2D365022FBEF}" dt="2020-12-18T20:36:30.118" v="697" actId="1076"/>
          <ac:cxnSpMkLst>
            <pc:docMk/>
            <pc:sldMk cId="1325684358" sldId="2586"/>
            <ac:cxnSpMk id="58" creationId="{069BD0FF-274B-4581-89B6-D153AF530FF3}"/>
          </ac:cxnSpMkLst>
        </pc:cxnChg>
      </pc:sldChg>
      <pc:sldChg chg="del">
        <pc:chgData name="u003487 Tereza Salgueiro Ramalho Mendes" userId="bb2291e0-f53c-426c-bc7e-e6da289e7b4f" providerId="ADAL" clId="{4E2D14C3-4C81-4449-96AF-2D365022FBEF}" dt="2020-12-18T20:36:50.685" v="700" actId="2696"/>
        <pc:sldMkLst>
          <pc:docMk/>
          <pc:sldMk cId="2723736128" sldId="2589"/>
        </pc:sldMkLst>
      </pc:sldChg>
      <pc:sldChg chg="del">
        <pc:chgData name="u003487 Tereza Salgueiro Ramalho Mendes" userId="bb2291e0-f53c-426c-bc7e-e6da289e7b4f" providerId="ADAL" clId="{4E2D14C3-4C81-4449-96AF-2D365022FBEF}" dt="2020-12-18T20:37:00.539" v="706" actId="2696"/>
        <pc:sldMkLst>
          <pc:docMk/>
          <pc:sldMk cId="195302004" sldId="2592"/>
        </pc:sldMkLst>
      </pc:sldChg>
      <pc:sldChg chg="del">
        <pc:chgData name="u003487 Tereza Salgueiro Ramalho Mendes" userId="bb2291e0-f53c-426c-bc7e-e6da289e7b4f" providerId="ADAL" clId="{4E2D14C3-4C81-4449-96AF-2D365022FBEF}" dt="2020-12-18T20:36:51.484" v="701" actId="2696"/>
        <pc:sldMkLst>
          <pc:docMk/>
          <pc:sldMk cId="692536801" sldId="2602"/>
        </pc:sldMkLst>
      </pc:sldChg>
      <pc:sldChg chg="add del">
        <pc:chgData name="u003487 Tereza Salgueiro Ramalho Mendes" userId="bb2291e0-f53c-426c-bc7e-e6da289e7b4f" providerId="ADAL" clId="{4E2D14C3-4C81-4449-96AF-2D365022FBEF}" dt="2020-12-18T20:36:54.469" v="703" actId="2696"/>
        <pc:sldMkLst>
          <pc:docMk/>
          <pc:sldMk cId="1969208108" sldId="2603"/>
        </pc:sldMkLst>
      </pc:sldChg>
      <pc:sldChg chg="del">
        <pc:chgData name="u003487 Tereza Salgueiro Ramalho Mendes" userId="bb2291e0-f53c-426c-bc7e-e6da289e7b4f" providerId="ADAL" clId="{4E2D14C3-4C81-4449-96AF-2D365022FBEF}" dt="2020-12-18T20:36:58.033" v="705" actId="2696"/>
        <pc:sldMkLst>
          <pc:docMk/>
          <pc:sldMk cId="2995099403" sldId="2606"/>
        </pc:sldMkLst>
      </pc:sldChg>
      <pc:sldChg chg="del">
        <pc:chgData name="u003487 Tereza Salgueiro Ramalho Mendes" userId="bb2291e0-f53c-426c-bc7e-e6da289e7b4f" providerId="ADAL" clId="{4E2D14C3-4C81-4449-96AF-2D365022FBEF}" dt="2020-12-18T20:37:01.302" v="707" actId="2696"/>
        <pc:sldMkLst>
          <pc:docMk/>
          <pc:sldMk cId="3600345370" sldId="2607"/>
        </pc:sldMkLst>
      </pc:sldChg>
      <pc:sldChg chg="del">
        <pc:chgData name="u003487 Tereza Salgueiro Ramalho Mendes" userId="bb2291e0-f53c-426c-bc7e-e6da289e7b4f" providerId="ADAL" clId="{4E2D14C3-4C81-4449-96AF-2D365022FBEF}" dt="2020-12-18T20:36:57.036" v="704" actId="2696"/>
        <pc:sldMkLst>
          <pc:docMk/>
          <pc:sldMk cId="3902701544" sldId="2611"/>
        </pc:sldMkLst>
      </pc:sldChg>
      <pc:sldChg chg="del">
        <pc:chgData name="u003487 Tereza Salgueiro Ramalho Mendes" userId="bb2291e0-f53c-426c-bc7e-e6da289e7b4f" providerId="ADAL" clId="{4E2D14C3-4C81-4449-96AF-2D365022FBEF}" dt="2020-12-18T20:36:46.353" v="699" actId="2696"/>
        <pc:sldMkLst>
          <pc:docMk/>
          <pc:sldMk cId="451747285" sldId="8780"/>
        </pc:sldMkLst>
      </pc:sldChg>
      <pc:sldChg chg="addSp delSp modSp add ord">
        <pc:chgData name="u003487 Tereza Salgueiro Ramalho Mendes" userId="bb2291e0-f53c-426c-bc7e-e6da289e7b4f" providerId="ADAL" clId="{4E2D14C3-4C81-4449-96AF-2D365022FBEF}" dt="2020-12-18T21:49:05.187" v="1537" actId="1037"/>
        <pc:sldMkLst>
          <pc:docMk/>
          <pc:sldMk cId="1009807059" sldId="8806"/>
        </pc:sldMkLst>
        <pc:spChg chg="add mod">
          <ac:chgData name="u003487 Tereza Salgueiro Ramalho Mendes" userId="bb2291e0-f53c-426c-bc7e-e6da289e7b4f" providerId="ADAL" clId="{4E2D14C3-4C81-4449-96AF-2D365022FBEF}" dt="2020-12-18T21:47:38.692" v="1518" actId="207"/>
          <ac:spMkLst>
            <pc:docMk/>
            <pc:sldMk cId="1009807059" sldId="8806"/>
            <ac:spMk id="3" creationId="{59EC85AA-2A15-4C7C-AD56-12998362F626}"/>
          </ac:spMkLst>
        </pc:spChg>
        <pc:spChg chg="mod">
          <ac:chgData name="u003487 Tereza Salgueiro Ramalho Mendes" userId="bb2291e0-f53c-426c-bc7e-e6da289e7b4f" providerId="ADAL" clId="{4E2D14C3-4C81-4449-96AF-2D365022FBEF}" dt="2020-12-18T21:39:36.989" v="1409" actId="207"/>
          <ac:spMkLst>
            <pc:docMk/>
            <pc:sldMk cId="1009807059" sldId="8806"/>
            <ac:spMk id="4" creationId="{10E08392-B17D-4AFD-AA06-F4B2F5308414}"/>
          </ac:spMkLst>
        </pc:spChg>
        <pc:spChg chg="mod">
          <ac:chgData name="u003487 Tereza Salgueiro Ramalho Mendes" userId="bb2291e0-f53c-426c-bc7e-e6da289e7b4f" providerId="ADAL" clId="{4E2D14C3-4C81-4449-96AF-2D365022FBEF}" dt="2020-12-18T21:22:19.981" v="1007" actId="207"/>
          <ac:spMkLst>
            <pc:docMk/>
            <pc:sldMk cId="1009807059" sldId="8806"/>
            <ac:spMk id="6" creationId="{4F6C1AC9-98C7-44CE-A9B2-BCEE9C4A44D3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9" creationId="{B18420D9-4D8B-4FF7-BDD1-0CF69F57DE81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12" creationId="{1B6A6D0B-0DC8-4145-80A2-8EE50B778E69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13" creationId="{CD6BF0FD-5CEA-4726-A058-0AE46288837B}"/>
          </ac:spMkLst>
        </pc:spChg>
        <pc:spChg chg="mod">
          <ac:chgData name="u003487 Tereza Salgueiro Ramalho Mendes" userId="bb2291e0-f53c-426c-bc7e-e6da289e7b4f" providerId="ADAL" clId="{4E2D14C3-4C81-4449-96AF-2D365022FBEF}" dt="2020-12-18T20:50:41.436" v="876" actId="1076"/>
          <ac:spMkLst>
            <pc:docMk/>
            <pc:sldMk cId="1009807059" sldId="8806"/>
            <ac:spMk id="21" creationId="{483B693C-D8D0-4527-95B2-9B339E3FC4B4}"/>
          </ac:spMkLst>
        </pc:spChg>
        <pc:spChg chg="mod">
          <ac:chgData name="u003487 Tereza Salgueiro Ramalho Mendes" userId="bb2291e0-f53c-426c-bc7e-e6da289e7b4f" providerId="ADAL" clId="{4E2D14C3-4C81-4449-96AF-2D365022FBEF}" dt="2020-12-18T20:50:15.057" v="868" actId="1076"/>
          <ac:spMkLst>
            <pc:docMk/>
            <pc:sldMk cId="1009807059" sldId="8806"/>
            <ac:spMk id="22" creationId="{E060B505-35F3-4C33-BF48-454E392F65A2}"/>
          </ac:spMkLst>
        </pc:spChg>
        <pc:spChg chg="mod">
          <ac:chgData name="u003487 Tereza Salgueiro Ramalho Mendes" userId="bb2291e0-f53c-426c-bc7e-e6da289e7b4f" providerId="ADAL" clId="{4E2D14C3-4C81-4449-96AF-2D365022FBEF}" dt="2020-12-18T21:45:11.685" v="1430" actId="1076"/>
          <ac:spMkLst>
            <pc:docMk/>
            <pc:sldMk cId="1009807059" sldId="8806"/>
            <ac:spMk id="25" creationId="{C61B2CB8-D014-4528-9E2D-BCE3269758B2}"/>
          </ac:spMkLst>
        </pc:spChg>
        <pc:spChg chg="mod">
          <ac:chgData name="u003487 Tereza Salgueiro Ramalho Mendes" userId="bb2291e0-f53c-426c-bc7e-e6da289e7b4f" providerId="ADAL" clId="{4E2D14C3-4C81-4449-96AF-2D365022FBEF}" dt="2020-12-18T21:29:14.815" v="1060" actId="14100"/>
          <ac:spMkLst>
            <pc:docMk/>
            <pc:sldMk cId="1009807059" sldId="8806"/>
            <ac:spMk id="30" creationId="{D8D5A477-74FA-430C-BD91-80427500892C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45" creationId="{17235E70-09A4-446B-853F-EDDDB89804B0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46" creationId="{32D4E718-DC2E-4B27-AD40-F485566B306E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47" creationId="{936A455C-8D05-4BEB-A6AF-F034012B7911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48" creationId="{D7284F33-EA6D-4435-82F2-9358950EAAE1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49" creationId="{B9A077D0-4CEE-4C33-8AD7-8F52C68756E4}"/>
          </ac:spMkLst>
        </pc:spChg>
        <pc:spChg chg="mod">
          <ac:chgData name="u003487 Tereza Salgueiro Ramalho Mendes" userId="bb2291e0-f53c-426c-bc7e-e6da289e7b4f" providerId="ADAL" clId="{4E2D14C3-4C81-4449-96AF-2D365022FBEF}" dt="2020-12-18T21:48:02.851" v="1522" actId="207"/>
          <ac:spMkLst>
            <pc:docMk/>
            <pc:sldMk cId="1009807059" sldId="8806"/>
            <ac:spMk id="50" creationId="{B095B194-3B44-4A5C-99F8-69D054A7F052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51" creationId="{05B73E95-7454-4CB8-8028-4A2077CC7D72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52" creationId="{901F6FC1-CBAB-4F7F-B576-815226B67546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53" creationId="{BA472FBE-E92C-4D4C-B665-9ECFAF8F5437}"/>
          </ac:spMkLst>
        </pc:spChg>
        <pc:spChg chg="mod">
          <ac:chgData name="u003487 Tereza Salgueiro Ramalho Mendes" userId="bb2291e0-f53c-426c-bc7e-e6da289e7b4f" providerId="ADAL" clId="{4E2D14C3-4C81-4449-96AF-2D365022FBEF}" dt="2020-12-18T20:51:05.326" v="902" actId="14100"/>
          <ac:spMkLst>
            <pc:docMk/>
            <pc:sldMk cId="1009807059" sldId="8806"/>
            <ac:spMk id="54" creationId="{E8CCE990-9D82-4785-8DFC-D81C194EF658}"/>
          </ac:spMkLst>
        </pc:spChg>
        <pc:spChg chg="mod">
          <ac:chgData name="u003487 Tereza Salgueiro Ramalho Mendes" userId="bb2291e0-f53c-426c-bc7e-e6da289e7b4f" providerId="ADAL" clId="{4E2D14C3-4C81-4449-96AF-2D365022FBEF}" dt="2020-12-18T20:50:56.410" v="882" actId="20577"/>
          <ac:spMkLst>
            <pc:docMk/>
            <pc:sldMk cId="1009807059" sldId="8806"/>
            <ac:spMk id="55" creationId="{52CFAC0B-C4AB-400C-9AB7-D7CEF3655112}"/>
          </ac:spMkLst>
        </pc:spChg>
        <pc:spChg chg="add mod">
          <ac:chgData name="u003487 Tereza Salgueiro Ramalho Mendes" userId="bb2291e0-f53c-426c-bc7e-e6da289e7b4f" providerId="ADAL" clId="{4E2D14C3-4C81-4449-96AF-2D365022FBEF}" dt="2020-12-18T21:01:52.888" v="982" actId="1035"/>
          <ac:spMkLst>
            <pc:docMk/>
            <pc:sldMk cId="1009807059" sldId="8806"/>
            <ac:spMk id="60" creationId="{ABF1D453-AD1D-4A36-AE12-B6C9B86DBF05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61" creationId="{8F033D96-E1CF-4ECC-B50B-B59353EA5E4E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62" creationId="{F2862FA3-A93D-4652-B3F8-17A95E2FAAFD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63" creationId="{9B934DA4-C556-4E18-98A1-C16497C5F566}"/>
          </ac:spMkLst>
        </pc:spChg>
        <pc:spChg chg="mod">
          <ac:chgData name="u003487 Tereza Salgueiro Ramalho Mendes" userId="bb2291e0-f53c-426c-bc7e-e6da289e7b4f" providerId="ADAL" clId="{4E2D14C3-4C81-4449-96AF-2D365022FBEF}" dt="2020-12-18T21:46:14.404" v="1435" actId="207"/>
          <ac:spMkLst>
            <pc:docMk/>
            <pc:sldMk cId="1009807059" sldId="8806"/>
            <ac:spMk id="65" creationId="{25A8A751-99F3-4C62-B68F-31B7991C02F3}"/>
          </ac:spMkLst>
        </pc:spChg>
        <pc:spChg chg="mod">
          <ac:chgData name="u003487 Tereza Salgueiro Ramalho Mendes" userId="bb2291e0-f53c-426c-bc7e-e6da289e7b4f" providerId="ADAL" clId="{4E2D14C3-4C81-4449-96AF-2D365022FBEF}" dt="2020-12-18T21:46:52.608" v="1475" actId="14100"/>
          <ac:spMkLst>
            <pc:docMk/>
            <pc:sldMk cId="1009807059" sldId="8806"/>
            <ac:spMk id="66" creationId="{46CEDF37-3084-4DCE-B06F-58C3B59DC869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67" creationId="{F8E2DBA4-F6C8-42E2-989C-B85F50D12630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68" creationId="{214DA3BC-3096-40ED-A081-ADCBBFCD3FAF}"/>
          </ac:spMkLst>
        </pc:spChg>
        <pc:spChg chg="del mod">
          <ac:chgData name="u003487 Tereza Salgueiro Ramalho Mendes" userId="bb2291e0-f53c-426c-bc7e-e6da289e7b4f" providerId="ADAL" clId="{4E2D14C3-4C81-4449-96AF-2D365022FBEF}" dt="2020-12-18T21:37:58.371" v="1406" actId="478"/>
          <ac:spMkLst>
            <pc:docMk/>
            <pc:sldMk cId="1009807059" sldId="8806"/>
            <ac:spMk id="69" creationId="{4C7B0119-5700-480B-BA2C-28AA2CAE7C36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70" creationId="{B1B4380F-2213-49F1-A80F-85C2C55052DA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71" creationId="{E37BA5B6-5C66-412E-AC29-3B1D457B5961}"/>
          </ac:spMkLst>
        </pc:spChg>
        <pc:spChg chg="mod">
          <ac:chgData name="u003487 Tereza Salgueiro Ramalho Mendes" userId="bb2291e0-f53c-426c-bc7e-e6da289e7b4f" providerId="ADAL" clId="{4E2D14C3-4C81-4449-96AF-2D365022FBEF}" dt="2020-12-18T21:03:46.309" v="997" actId="164"/>
          <ac:spMkLst>
            <pc:docMk/>
            <pc:sldMk cId="1009807059" sldId="8806"/>
            <ac:spMk id="72" creationId="{EEE4EBA0-DC80-47F3-BEDE-A27DC749CCC1}"/>
          </ac:spMkLst>
        </pc:spChg>
        <pc:spChg chg="mod">
          <ac:chgData name="u003487 Tereza Salgueiro Ramalho Mendes" userId="bb2291e0-f53c-426c-bc7e-e6da289e7b4f" providerId="ADAL" clId="{4E2D14C3-4C81-4449-96AF-2D365022FBEF}" dt="2020-12-18T21:47:50.549" v="1521" actId="207"/>
          <ac:spMkLst>
            <pc:docMk/>
            <pc:sldMk cId="1009807059" sldId="8806"/>
            <ac:spMk id="74" creationId="{498AC215-D8D4-4D46-80BF-922D3B2AEE60}"/>
          </ac:spMkLst>
        </pc:spChg>
        <pc:spChg chg="mod">
          <ac:chgData name="u003487 Tereza Salgueiro Ramalho Mendes" userId="bb2291e0-f53c-426c-bc7e-e6da289e7b4f" providerId="ADAL" clId="{4E2D14C3-4C81-4449-96AF-2D365022FBEF}" dt="2020-12-18T21:02:59.162" v="991" actId="20577"/>
          <ac:spMkLst>
            <pc:docMk/>
            <pc:sldMk cId="1009807059" sldId="8806"/>
            <ac:spMk id="75" creationId="{DD2EFAB9-C24D-4EF5-AB1C-961CD4676336}"/>
          </ac:spMkLst>
        </pc:spChg>
        <pc:spChg chg="mod">
          <ac:chgData name="u003487 Tereza Salgueiro Ramalho Mendes" userId="bb2291e0-f53c-426c-bc7e-e6da289e7b4f" providerId="ADAL" clId="{4E2D14C3-4C81-4449-96AF-2D365022FBEF}" dt="2020-12-18T21:47:32.958" v="1517" actId="207"/>
          <ac:spMkLst>
            <pc:docMk/>
            <pc:sldMk cId="1009807059" sldId="8806"/>
            <ac:spMk id="77" creationId="{936C8BEC-6CD6-4E41-9979-854B3BBCD4CE}"/>
          </ac:spMkLst>
        </pc:spChg>
        <pc:spChg chg="mod">
          <ac:chgData name="u003487 Tereza Salgueiro Ramalho Mendes" userId="bb2291e0-f53c-426c-bc7e-e6da289e7b4f" providerId="ADAL" clId="{4E2D14C3-4C81-4449-96AF-2D365022FBEF}" dt="2020-12-18T21:03:14.667" v="995" actId="20577"/>
          <ac:spMkLst>
            <pc:docMk/>
            <pc:sldMk cId="1009807059" sldId="8806"/>
            <ac:spMk id="78" creationId="{DD01E0DC-CA52-4D2A-A70F-5AC281CE44B8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79" creationId="{A22CA035-20C0-4E2F-A559-24EE4B21A205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80" creationId="{93B93C30-F7D5-4161-A62F-599AB2E53613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1:18.522" v="1175" actId="478"/>
          <ac:spMkLst>
            <pc:docMk/>
            <pc:sldMk cId="1009807059" sldId="8806"/>
            <ac:spMk id="81" creationId="{50DF2521-BE96-4D6D-A7DB-BD313116CC4C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1:18.522" v="1175" actId="478"/>
          <ac:spMkLst>
            <pc:docMk/>
            <pc:sldMk cId="1009807059" sldId="8806"/>
            <ac:spMk id="82" creationId="{527692AC-051D-42B5-BC1E-B33E93E3A013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1:18.522" v="1175" actId="478"/>
          <ac:spMkLst>
            <pc:docMk/>
            <pc:sldMk cId="1009807059" sldId="8806"/>
            <ac:spMk id="83" creationId="{F616A3E2-C4E8-46DA-8457-BF0ACD5F8179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1:18.522" v="1175" actId="478"/>
          <ac:spMkLst>
            <pc:docMk/>
            <pc:sldMk cId="1009807059" sldId="8806"/>
            <ac:spMk id="84" creationId="{313C4F29-9F79-4378-8B1F-330676450948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0:46.970" v="1094" actId="478"/>
          <ac:spMkLst>
            <pc:docMk/>
            <pc:sldMk cId="1009807059" sldId="8806"/>
            <ac:spMk id="85" creationId="{6FF1C297-4FFA-4FB4-AECF-6FC0B5C70568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90" creationId="{29B9E17A-FC7A-4C88-AED2-7E4F662F4145}"/>
          </ac:spMkLst>
        </pc:spChg>
        <pc:spChg chg="add del mod">
          <ac:chgData name="u003487 Tereza Salgueiro Ramalho Mendes" userId="bb2291e0-f53c-426c-bc7e-e6da289e7b4f" providerId="ADAL" clId="{4E2D14C3-4C81-4449-96AF-2D365022FBEF}" dt="2020-12-18T21:35:44.678" v="1376" actId="478"/>
          <ac:spMkLst>
            <pc:docMk/>
            <pc:sldMk cId="1009807059" sldId="8806"/>
            <ac:spMk id="91" creationId="{0FB6FC99-E342-402E-BEDC-281492C319C3}"/>
          </ac:spMkLst>
        </pc:spChg>
        <pc:spChg chg="add mod">
          <ac:chgData name="u003487 Tereza Salgueiro Ramalho Mendes" userId="bb2291e0-f53c-426c-bc7e-e6da289e7b4f" providerId="ADAL" clId="{4E2D14C3-4C81-4449-96AF-2D365022FBEF}" dt="2020-12-18T21:45:05.141" v="1429" actId="1076"/>
          <ac:spMkLst>
            <pc:docMk/>
            <pc:sldMk cId="1009807059" sldId="8806"/>
            <ac:spMk id="93" creationId="{8A50A096-F2AC-4C2D-AEFE-0AA2690717B4}"/>
          </ac:spMkLst>
        </pc:spChg>
        <pc:spChg chg="add del mod ord">
          <ac:chgData name="u003487 Tereza Salgueiro Ramalho Mendes" userId="bb2291e0-f53c-426c-bc7e-e6da289e7b4f" providerId="ADAL" clId="{4E2D14C3-4C81-4449-96AF-2D365022FBEF}" dt="2020-12-18T21:44:02.668" v="1424" actId="478"/>
          <ac:spMkLst>
            <pc:docMk/>
            <pc:sldMk cId="1009807059" sldId="8806"/>
            <ac:spMk id="95" creationId="{79752B01-302C-4F84-962B-BF283C659F39}"/>
          </ac:spMkLst>
        </pc:spChg>
        <pc:spChg chg="mod">
          <ac:chgData name="u003487 Tereza Salgueiro Ramalho Mendes" userId="bb2291e0-f53c-426c-bc7e-e6da289e7b4f" providerId="ADAL" clId="{4E2D14C3-4C81-4449-96AF-2D365022FBEF}" dt="2020-12-18T21:47:44.174" v="1520" actId="207"/>
          <ac:spMkLst>
            <pc:docMk/>
            <pc:sldMk cId="1009807059" sldId="8806"/>
            <ac:spMk id="97" creationId="{D3B7031B-C845-41BC-98C2-2DF92E62E21F}"/>
          </ac:spMkLst>
        </pc:spChg>
        <pc:spChg chg="mod">
          <ac:chgData name="u003487 Tereza Salgueiro Ramalho Mendes" userId="bb2291e0-f53c-426c-bc7e-e6da289e7b4f" providerId="ADAL" clId="{4E2D14C3-4C81-4449-96AF-2D365022FBEF}" dt="2020-12-18T21:47:09.277" v="1512" actId="20577"/>
          <ac:spMkLst>
            <pc:docMk/>
            <pc:sldMk cId="1009807059" sldId="8806"/>
            <ac:spMk id="98" creationId="{38927109-8445-432B-BF2A-75F08FED51A7}"/>
          </ac:spMkLst>
        </pc:spChg>
        <pc:grpChg chg="add mod">
          <ac:chgData name="u003487 Tereza Salgueiro Ramalho Mendes" userId="bb2291e0-f53c-426c-bc7e-e6da289e7b4f" providerId="ADAL" clId="{4E2D14C3-4C81-4449-96AF-2D365022FBEF}" dt="2020-12-18T21:02:55.356" v="989" actId="1076"/>
          <ac:grpSpMkLst>
            <pc:docMk/>
            <pc:sldMk cId="1009807059" sldId="8806"/>
            <ac:grpSpMk id="5" creationId="{84020D28-56E6-4BDA-9DB0-3F66CCBA7267}"/>
          </ac:grpSpMkLst>
        </pc:grpChg>
        <pc:grpChg chg="mod">
          <ac:chgData name="u003487 Tereza Salgueiro Ramalho Mendes" userId="bb2291e0-f53c-426c-bc7e-e6da289e7b4f" providerId="ADAL" clId="{4E2D14C3-4C81-4449-96AF-2D365022FBEF}" dt="2020-12-18T20:51:12.084" v="903" actId="1076"/>
          <ac:grpSpMkLst>
            <pc:docMk/>
            <pc:sldMk cId="1009807059" sldId="8806"/>
            <ac:grpSpMk id="8" creationId="{B98F1AA4-AAB4-49E6-AF5B-77F89CEDE85E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21:03:46.309" v="997" actId="164"/>
          <ac:grpSpMkLst>
            <pc:docMk/>
            <pc:sldMk cId="1009807059" sldId="8806"/>
            <ac:grpSpMk id="10" creationId="{9B745BF4-148B-49D3-BDB0-67CD591B4D4F}"/>
          </ac:grpSpMkLst>
        </pc:grpChg>
        <pc:grpChg chg="del">
          <ac:chgData name="u003487 Tereza Salgueiro Ramalho Mendes" userId="bb2291e0-f53c-426c-bc7e-e6da289e7b4f" providerId="ADAL" clId="{4E2D14C3-4C81-4449-96AF-2D365022FBEF}" dt="2020-12-18T20:50:49.538" v="878" actId="478"/>
          <ac:grpSpMkLst>
            <pc:docMk/>
            <pc:sldMk cId="1009807059" sldId="8806"/>
            <ac:grpSpMk id="40" creationId="{8AFA5EDD-9E41-4FA0-A965-A5700DECE7D9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21:48:09.211" v="1523" actId="207"/>
          <ac:grpSpMkLst>
            <pc:docMk/>
            <pc:sldMk cId="1009807059" sldId="8806"/>
            <ac:grpSpMk id="44" creationId="{42D18C3A-0525-4B08-A501-39F7CE0E3BC3}"/>
          </ac:grpSpMkLst>
        </pc:grpChg>
        <pc:grpChg chg="mod">
          <ac:chgData name="u003487 Tereza Salgueiro Ramalho Mendes" userId="bb2291e0-f53c-426c-bc7e-e6da289e7b4f" providerId="ADAL" clId="{4E2D14C3-4C81-4449-96AF-2D365022FBEF}" dt="2020-12-18T21:49:05.187" v="1537" actId="1037"/>
          <ac:grpSpMkLst>
            <pc:docMk/>
            <pc:sldMk cId="1009807059" sldId="8806"/>
            <ac:grpSpMk id="56" creationId="{3E8B4AD0-3BDD-4F5A-9C6C-58C724FDD305}"/>
          </ac:grpSpMkLst>
        </pc:grpChg>
        <pc:grpChg chg="mod">
          <ac:chgData name="u003487 Tereza Salgueiro Ramalho Mendes" userId="bb2291e0-f53c-426c-bc7e-e6da289e7b4f" providerId="ADAL" clId="{4E2D14C3-4C81-4449-96AF-2D365022FBEF}" dt="2020-12-18T21:49:05.187" v="1537" actId="1037"/>
          <ac:grpSpMkLst>
            <pc:docMk/>
            <pc:sldMk cId="1009807059" sldId="8806"/>
            <ac:grpSpMk id="64" creationId="{3BD949F4-8811-40CA-B3B6-45269F426009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21:02:50.557" v="988" actId="1076"/>
          <ac:grpSpMkLst>
            <pc:docMk/>
            <pc:sldMk cId="1009807059" sldId="8806"/>
            <ac:grpSpMk id="73" creationId="{27248AF2-6282-4577-9933-104982005542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21:03:22.621" v="996" actId="1076"/>
          <ac:grpSpMkLst>
            <pc:docMk/>
            <pc:sldMk cId="1009807059" sldId="8806"/>
            <ac:grpSpMk id="76" creationId="{CB7C2FCE-4CAF-4DB2-A714-70B84C303EAC}"/>
          </ac:grpSpMkLst>
        </pc:grpChg>
        <pc:grpChg chg="add mod">
          <ac:chgData name="u003487 Tereza Salgueiro Ramalho Mendes" userId="bb2291e0-f53c-426c-bc7e-e6da289e7b4f" providerId="ADAL" clId="{4E2D14C3-4C81-4449-96AF-2D365022FBEF}" dt="2020-12-18T21:47:06.867" v="1501" actId="1076"/>
          <ac:grpSpMkLst>
            <pc:docMk/>
            <pc:sldMk cId="1009807059" sldId="8806"/>
            <ac:grpSpMk id="96" creationId="{81AEB8F2-B443-4FEB-8550-3BD295448936}"/>
          </ac:grpSpMkLst>
        </pc:grpChg>
        <pc:graphicFrameChg chg="mod modGraphic">
          <ac:chgData name="u003487 Tereza Salgueiro Ramalho Mendes" userId="bb2291e0-f53c-426c-bc7e-e6da289e7b4f" providerId="ADAL" clId="{4E2D14C3-4C81-4449-96AF-2D365022FBEF}" dt="2020-12-18T21:47:40.999" v="1519" actId="207"/>
          <ac:graphicFrameMkLst>
            <pc:docMk/>
            <pc:sldMk cId="1009807059" sldId="8806"/>
            <ac:graphicFrameMk id="7" creationId="{16CB7E22-3BAD-4002-B248-E208A823C213}"/>
          </ac:graphicFrameMkLst>
        </pc:graphicFrameChg>
        <pc:picChg chg="add del mod">
          <ac:chgData name="u003487 Tereza Salgueiro Ramalho Mendes" userId="bb2291e0-f53c-426c-bc7e-e6da289e7b4f" providerId="ADAL" clId="{4E2D14C3-4C81-4449-96AF-2D365022FBEF}" dt="2020-12-18T21:31:18.522" v="1175" actId="478"/>
          <ac:picMkLst>
            <pc:docMk/>
            <pc:sldMk cId="1009807059" sldId="8806"/>
            <ac:picMk id="87" creationId="{BD717881-4DF8-4C68-8454-F231AE7AD879}"/>
          </ac:picMkLst>
        </pc:picChg>
        <pc:picChg chg="add del mod">
          <ac:chgData name="u003487 Tereza Salgueiro Ramalho Mendes" userId="bb2291e0-f53c-426c-bc7e-e6da289e7b4f" providerId="ADAL" clId="{4E2D14C3-4C81-4449-96AF-2D365022FBEF}" dt="2020-12-18T21:31:18.522" v="1175" actId="478"/>
          <ac:picMkLst>
            <pc:docMk/>
            <pc:sldMk cId="1009807059" sldId="8806"/>
            <ac:picMk id="88" creationId="{3E7ECE99-013B-4EA1-879A-AFEC05C006C3}"/>
          </ac:picMkLst>
        </pc:picChg>
        <pc:picChg chg="add del mod">
          <ac:chgData name="u003487 Tereza Salgueiro Ramalho Mendes" userId="bb2291e0-f53c-426c-bc7e-e6da289e7b4f" providerId="ADAL" clId="{4E2D14C3-4C81-4449-96AF-2D365022FBEF}" dt="2020-12-18T21:31:18.522" v="1175" actId="478"/>
          <ac:picMkLst>
            <pc:docMk/>
            <pc:sldMk cId="1009807059" sldId="8806"/>
            <ac:picMk id="89" creationId="{A8CE5E0E-CAEF-454A-B651-06043B8608DD}"/>
          </ac:picMkLst>
        </pc:picChg>
        <pc:cxnChg chg="mod">
          <ac:chgData name="u003487 Tereza Salgueiro Ramalho Mendes" userId="bb2291e0-f53c-426c-bc7e-e6da289e7b4f" providerId="ADAL" clId="{4E2D14C3-4C81-4449-96AF-2D365022FBEF}" dt="2020-12-18T21:03:46.309" v="997" actId="164"/>
          <ac:cxnSpMkLst>
            <pc:docMk/>
            <pc:sldMk cId="1009807059" sldId="8806"/>
            <ac:cxnSpMk id="11" creationId="{792339BF-4F53-4F11-8412-CD287D052A87}"/>
          </ac:cxnSpMkLst>
        </pc:cxnChg>
        <pc:cxnChg chg="add mod">
          <ac:chgData name="u003487 Tereza Salgueiro Ramalho Mendes" userId="bb2291e0-f53c-426c-bc7e-e6da289e7b4f" providerId="ADAL" clId="{4E2D14C3-4C81-4449-96AF-2D365022FBEF}" dt="2020-12-18T21:45:05.141" v="1429" actId="1076"/>
          <ac:cxnSpMkLst>
            <pc:docMk/>
            <pc:sldMk cId="1009807059" sldId="8806"/>
            <ac:cxnSpMk id="15" creationId="{23479EB5-67FD-41DA-9EEA-7DB7CC83B262}"/>
          </ac:cxnSpMkLst>
        </pc:cxnChg>
        <pc:cxnChg chg="mod">
          <ac:chgData name="u003487 Tereza Salgueiro Ramalho Mendes" userId="bb2291e0-f53c-426c-bc7e-e6da289e7b4f" providerId="ADAL" clId="{4E2D14C3-4C81-4449-96AF-2D365022FBEF}" dt="2020-12-18T21:03:46.309" v="997" actId="164"/>
          <ac:cxnSpMkLst>
            <pc:docMk/>
            <pc:sldMk cId="1009807059" sldId="8806"/>
            <ac:cxnSpMk id="58" creationId="{069BD0FF-274B-4581-89B6-D153AF530FF3}"/>
          </ac:cxnSpMkLst>
        </pc:cxnChg>
        <pc:cxnChg chg="add del mod">
          <ac:chgData name="u003487 Tereza Salgueiro Ramalho Mendes" userId="bb2291e0-f53c-426c-bc7e-e6da289e7b4f" providerId="ADAL" clId="{4E2D14C3-4C81-4449-96AF-2D365022FBEF}" dt="2020-12-18T21:31:18.522" v="1175" actId="478"/>
          <ac:cxnSpMkLst>
            <pc:docMk/>
            <pc:sldMk cId="1009807059" sldId="8806"/>
            <ac:cxnSpMk id="86" creationId="{C294887E-F4CA-4367-A8AF-C333CB91AB8A}"/>
          </ac:cxnSpMkLst>
        </pc:cxnChg>
        <pc:cxnChg chg="add mod">
          <ac:chgData name="u003487 Tereza Salgueiro Ramalho Mendes" userId="bb2291e0-f53c-426c-bc7e-e6da289e7b4f" providerId="ADAL" clId="{4E2D14C3-4C81-4449-96AF-2D365022FBEF}" dt="2020-12-18T21:45:05.141" v="1429" actId="1076"/>
          <ac:cxnSpMkLst>
            <pc:docMk/>
            <pc:sldMk cId="1009807059" sldId="8806"/>
            <ac:cxnSpMk id="92" creationId="{2754C3F5-1246-40B1-A758-3E4EBE9392D6}"/>
          </ac:cxnSpMkLst>
        </pc:cxnChg>
        <pc:cxnChg chg="add del mod">
          <ac:chgData name="u003487 Tereza Salgueiro Ramalho Mendes" userId="bb2291e0-f53c-426c-bc7e-e6da289e7b4f" providerId="ADAL" clId="{4E2D14C3-4C81-4449-96AF-2D365022FBEF}" dt="2020-12-18T21:44:05.406" v="1425" actId="478"/>
          <ac:cxnSpMkLst>
            <pc:docMk/>
            <pc:sldMk cId="1009807059" sldId="8806"/>
            <ac:cxnSpMk id="94" creationId="{A0E03538-E6D4-4C3B-86EA-23FC269AE02E}"/>
          </ac:cxnSpMkLst>
        </pc:cxnChg>
      </pc:sldChg>
    </pc:docChg>
  </pc:docChgLst>
  <pc:docChgLst>
    <pc:chgData name="Thaís Gondim" userId="S::thais.gondim@xpi.com.br::b3fd6bee-c7e3-40bb-b930-c0cfe2d46b19" providerId="AD" clId="Web-{D4F1E723-2C01-ECD2-0481-47CA1683C294}"/>
    <pc:docChg chg="addSld modSld sldOrd modSection">
      <pc:chgData name="Thaís Gondim" userId="S::thais.gondim@xpi.com.br::b3fd6bee-c7e3-40bb-b930-c0cfe2d46b19" providerId="AD" clId="Web-{D4F1E723-2C01-ECD2-0481-47CA1683C294}" dt="2020-11-24T13:12:51.067" v="63" actId="1076"/>
      <pc:docMkLst>
        <pc:docMk/>
      </pc:docMkLst>
      <pc:sldChg chg="modSp">
        <pc:chgData name="Thaís Gondim" userId="S::thais.gondim@xpi.com.br::b3fd6bee-c7e3-40bb-b930-c0cfe2d46b19" providerId="AD" clId="Web-{D4F1E723-2C01-ECD2-0481-47CA1683C294}" dt="2020-11-24T12:49:46.936" v="17" actId="14100"/>
        <pc:sldMkLst>
          <pc:docMk/>
          <pc:sldMk cId="692536801" sldId="2602"/>
        </pc:sldMkLst>
        <pc:spChg chg="mod">
          <ac:chgData name="Thaís Gondim" userId="S::thais.gondim@xpi.com.br::b3fd6bee-c7e3-40bb-b930-c0cfe2d46b19" providerId="AD" clId="Web-{D4F1E723-2C01-ECD2-0481-47CA1683C294}" dt="2020-11-24T12:49:46.936" v="17" actId="14100"/>
          <ac:spMkLst>
            <pc:docMk/>
            <pc:sldMk cId="692536801" sldId="2602"/>
            <ac:spMk id="7" creationId="{426F78DC-6BBA-1E43-A84A-BB766171C104}"/>
          </ac:spMkLst>
        </pc:spChg>
      </pc:sldChg>
      <pc:sldChg chg="modSp ord">
        <pc:chgData name="Thaís Gondim" userId="S::thais.gondim@xpi.com.br::b3fd6bee-c7e3-40bb-b930-c0cfe2d46b19" providerId="AD" clId="Web-{D4F1E723-2C01-ECD2-0481-47CA1683C294}" dt="2020-11-24T13:10:49.033" v="62"/>
        <pc:sldMkLst>
          <pc:docMk/>
          <pc:sldMk cId="2995099403" sldId="2606"/>
        </pc:sldMkLst>
        <pc:spChg chg="mod">
          <ac:chgData name="Thaís Gondim" userId="S::thais.gondim@xpi.com.br::b3fd6bee-c7e3-40bb-b930-c0cfe2d46b19" providerId="AD" clId="Web-{D4F1E723-2C01-ECD2-0481-47CA1683C294}" dt="2020-11-24T13:03:18.333" v="60" actId="14100"/>
          <ac:spMkLst>
            <pc:docMk/>
            <pc:sldMk cId="2995099403" sldId="2606"/>
            <ac:spMk id="155" creationId="{28FBE63B-A577-4C18-9685-EA9F2550FE8E}"/>
          </ac:spMkLst>
        </pc:spChg>
        <pc:spChg chg="mod">
          <ac:chgData name="Thaís Gondim" userId="S::thais.gondim@xpi.com.br::b3fd6bee-c7e3-40bb-b930-c0cfe2d46b19" providerId="AD" clId="Web-{D4F1E723-2C01-ECD2-0481-47CA1683C294}" dt="2020-11-24T13:06:26.151" v="61" actId="14100"/>
          <ac:spMkLst>
            <pc:docMk/>
            <pc:sldMk cId="2995099403" sldId="2606"/>
            <ac:spMk id="156" creationId="{8CB7454F-3CB7-4497-9BD8-CF794B623193}"/>
          </ac:spMkLst>
        </pc:spChg>
      </pc:sldChg>
      <pc:sldChg chg="addSp delSp modSp">
        <pc:chgData name="Thaís Gondim" userId="S::thais.gondim@xpi.com.br::b3fd6bee-c7e3-40bb-b930-c0cfe2d46b19" providerId="AD" clId="Web-{D4F1E723-2C01-ECD2-0481-47CA1683C294}" dt="2020-11-24T13:00:09.094" v="57" actId="20577"/>
        <pc:sldMkLst>
          <pc:docMk/>
          <pc:sldMk cId="3902701544" sldId="2611"/>
        </pc:sldMkLst>
        <pc:spChg chg="mod">
          <ac:chgData name="Thaís Gondim" userId="S::thais.gondim@xpi.com.br::b3fd6bee-c7e3-40bb-b930-c0cfe2d46b19" providerId="AD" clId="Web-{D4F1E723-2C01-ECD2-0481-47CA1683C294}" dt="2020-11-24T12:57:14.340" v="38" actId="20577"/>
          <ac:spMkLst>
            <pc:docMk/>
            <pc:sldMk cId="3902701544" sldId="2611"/>
            <ac:spMk id="2" creationId="{E4065686-F7E1-4579-8528-CCDA6A8807B3}"/>
          </ac:spMkLst>
        </pc:spChg>
        <pc:spChg chg="add del">
          <ac:chgData name="Thaís Gondim" userId="S::thais.gondim@xpi.com.br::b3fd6bee-c7e3-40bb-b930-c0cfe2d46b19" providerId="AD" clId="Web-{D4F1E723-2C01-ECD2-0481-47CA1683C294}" dt="2020-11-24T12:59:29.890" v="50"/>
          <ac:spMkLst>
            <pc:docMk/>
            <pc:sldMk cId="3902701544" sldId="2611"/>
            <ac:spMk id="34" creationId="{36FDAB44-6C90-4339-B5A5-2E78973A47B7}"/>
          </ac:spMkLst>
        </pc:spChg>
        <pc:spChg chg="add del mod">
          <ac:chgData name="Thaís Gondim" userId="S::thais.gondim@xpi.com.br::b3fd6bee-c7e3-40bb-b930-c0cfe2d46b19" providerId="AD" clId="Web-{D4F1E723-2C01-ECD2-0481-47CA1683C294}" dt="2020-11-24T12:59:14.218" v="45" actId="1076"/>
          <ac:spMkLst>
            <pc:docMk/>
            <pc:sldMk cId="3902701544" sldId="2611"/>
            <ac:spMk id="35" creationId="{F97C6A4E-2745-46E6-8990-899AA2DF4818}"/>
          </ac:spMkLst>
        </pc:spChg>
        <pc:spChg chg="mod">
          <ac:chgData name="Thaís Gondim" userId="S::thais.gondim@xpi.com.br::b3fd6bee-c7e3-40bb-b930-c0cfe2d46b19" providerId="AD" clId="Web-{D4F1E723-2C01-ECD2-0481-47CA1683C294}" dt="2020-11-24T13:00:09.094" v="57" actId="20577"/>
          <ac:spMkLst>
            <pc:docMk/>
            <pc:sldMk cId="3902701544" sldId="2611"/>
            <ac:spMk id="45" creationId="{5218511B-FFBF-4840-A51E-D7924EB9BB37}"/>
          </ac:spMkLst>
        </pc:spChg>
        <pc:spChg chg="mod">
          <ac:chgData name="Thaís Gondim" userId="S::thais.gondim@xpi.com.br::b3fd6bee-c7e3-40bb-b930-c0cfe2d46b19" providerId="AD" clId="Web-{D4F1E723-2C01-ECD2-0481-47CA1683C294}" dt="2020-11-24T13:00:09.063" v="56" actId="20577"/>
          <ac:spMkLst>
            <pc:docMk/>
            <pc:sldMk cId="3902701544" sldId="2611"/>
            <ac:spMk id="47" creationId="{7E09D7B8-2D80-4906-B611-B984EFAE8B20}"/>
          </ac:spMkLst>
        </pc:spChg>
        <pc:graphicFrameChg chg="mod">
          <ac:chgData name="Thaís Gondim" userId="S::thais.gondim@xpi.com.br::b3fd6bee-c7e3-40bb-b930-c0cfe2d46b19" providerId="AD" clId="Web-{D4F1E723-2C01-ECD2-0481-47CA1683C294}" dt="2020-11-24T12:59:14.249" v="46" actId="1076"/>
          <ac:graphicFrameMkLst>
            <pc:docMk/>
            <pc:sldMk cId="3902701544" sldId="2611"/>
            <ac:graphicFrameMk id="28" creationId="{2F73877C-DC86-4836-80F2-BC5381D27C86}"/>
          </ac:graphicFrameMkLst>
        </pc:graphicFrameChg>
      </pc:sldChg>
      <pc:sldChg chg="addSp modSp new ord">
        <pc:chgData name="Thaís Gondim" userId="S::thais.gondim@xpi.com.br::b3fd6bee-c7e3-40bb-b930-c0cfe2d46b19" providerId="AD" clId="Web-{D4F1E723-2C01-ECD2-0481-47CA1683C294}" dt="2020-11-24T13:12:51.067" v="63" actId="1076"/>
        <pc:sldMkLst>
          <pc:docMk/>
          <pc:sldMk cId="3947637423" sldId="2612"/>
        </pc:sldMkLst>
        <pc:spChg chg="add mod">
          <ac:chgData name="Thaís Gondim" userId="S::thais.gondim@xpi.com.br::b3fd6bee-c7e3-40bb-b930-c0cfe2d46b19" providerId="AD" clId="Web-{D4F1E723-2C01-ECD2-0481-47CA1683C294}" dt="2020-11-24T13:12:51.067" v="63" actId="1076"/>
          <ac:spMkLst>
            <pc:docMk/>
            <pc:sldMk cId="3947637423" sldId="2612"/>
            <ac:spMk id="3" creationId="{32F05EF2-4E12-4593-B024-75FDCBCFF020}"/>
          </ac:spMkLst>
        </pc:spChg>
      </pc:sldChg>
    </pc:docChg>
  </pc:docChgLst>
  <pc:docChgLst>
    <pc:chgData name="Tereza Mendes" userId="bb2291e0-f53c-426c-bc7e-e6da289e7b4f" providerId="ADAL" clId="{061FDF7F-9982-4F40-8DE4-40EECBDFA11B}"/>
    <pc:docChg chg="undo custSel modSld">
      <pc:chgData name="Tereza Mendes" userId="bb2291e0-f53c-426c-bc7e-e6da289e7b4f" providerId="ADAL" clId="{061FDF7F-9982-4F40-8DE4-40EECBDFA11B}" dt="2021-01-14T21:59:03.025" v="99" actId="1036"/>
      <pc:docMkLst>
        <pc:docMk/>
      </pc:docMkLst>
      <pc:sldChg chg="modSp">
        <pc:chgData name="Tereza Mendes" userId="bb2291e0-f53c-426c-bc7e-e6da289e7b4f" providerId="ADAL" clId="{061FDF7F-9982-4F40-8DE4-40EECBDFA11B}" dt="2021-01-14T21:59:03.025" v="99" actId="1036"/>
        <pc:sldMkLst>
          <pc:docMk/>
          <pc:sldMk cId="1217463327" sldId="8813"/>
        </pc:sldMkLst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17" creationId="{EE9A4875-21A8-4E08-9778-FECEDED0A2AF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18" creationId="{F5324C2C-CCBC-477E-84A9-702970A4CF72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19" creationId="{77B30FFB-986A-43D4-96A5-644C11DCABA1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23" creationId="{9B09B1FB-7F54-4443-B5E4-EC261230603C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26" creationId="{2E2C6C24-6C33-4180-A0CC-8A87240D6EF5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44" creationId="{393ACC8F-9FD8-433D-9C7B-2ED25C59A8D5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56" creationId="{0937C99F-7087-4FB0-98D0-DB2D96F1FEDC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57" creationId="{607DFE4D-0CF2-4D5C-B238-F45ED141D961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1" creationId="{F509D0A0-7343-480C-8B03-7FBB961EA76C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2" creationId="{0204BD64-83DA-49F6-84F7-1B1E58ED01E2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3" creationId="{44AA5F87-AB15-48B6-8EBB-D65A81205A55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4" creationId="{E603DC79-925B-4DDD-83CC-2BB68651234F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5" creationId="{356D67B7-4175-41BD-8F6E-ADDAD3AF47ED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6" creationId="{0193F79A-66BB-4BAB-AC23-13A19CDCF3BC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69" creationId="{B9FE4F48-8A3B-47DB-A060-DACAB634292B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71" creationId="{2A8B3D5F-6126-498D-867C-2FD7F96DCAF9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73" creationId="{65C74F9C-FDD9-4ECD-89C4-82304577B403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74" creationId="{DCDEE5CF-44D1-4996-9EF0-D94666EE72CA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76" creationId="{24494BE8-FFBD-4E5D-972A-66570E851CFE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81" creationId="{8922C9D7-ADE3-4E9D-817B-D9EC7A9FCE64}"/>
          </ac:spMkLst>
        </pc:spChg>
        <pc:spChg chg="mod">
          <ac:chgData name="Tereza Mendes" userId="bb2291e0-f53c-426c-bc7e-e6da289e7b4f" providerId="ADAL" clId="{061FDF7F-9982-4F40-8DE4-40EECBDFA11B}" dt="2021-01-14T21:55:09.702" v="84" actId="1036"/>
          <ac:spMkLst>
            <pc:docMk/>
            <pc:sldMk cId="1217463327" sldId="8813"/>
            <ac:spMk id="82" creationId="{3188502E-D3A1-4619-8520-DBED94235407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84" creationId="{0FC43344-8632-4466-80E4-AAA8322C1DDF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3" creationId="{17CF71CF-782C-4E4D-90BB-AC8FB0838E65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4" creationId="{68C5FCA6-E8C1-4D58-A5A2-438B99D5E5D3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5" creationId="{B6276178-A46F-4B7F-A970-AEF610D7B831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6" creationId="{C664B67C-F3CF-4C1B-B289-06741FF469A3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8" creationId="{CCF0E32E-6475-453D-928C-3371E83D2DA0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99" creationId="{66CB9F3B-A1B3-4640-AEBB-872ACEEFDA3F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100" creationId="{13BE3ABD-21B0-4FAD-8FB2-9D56F8217DBE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101" creationId="{E4D2A3F4-7651-4D0E-A098-C0CEC96EB310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102" creationId="{0D95529C-341A-4EDB-87F2-419F76C890AD}"/>
          </ac:spMkLst>
        </pc:spChg>
        <pc:spChg chg="mod">
          <ac:chgData name="Tereza Mendes" userId="bb2291e0-f53c-426c-bc7e-e6da289e7b4f" providerId="ADAL" clId="{061FDF7F-9982-4F40-8DE4-40EECBDFA11B}" dt="2021-01-14T21:54:59.260" v="75" actId="1035"/>
          <ac:spMkLst>
            <pc:docMk/>
            <pc:sldMk cId="1217463327" sldId="8813"/>
            <ac:spMk id="103" creationId="{462E54FA-6254-4529-BADE-229DF42D4D8B}"/>
          </ac:spMkLst>
        </pc:spChg>
        <pc:grpChg chg="mod">
          <ac:chgData name="Tereza Mendes" userId="bb2291e0-f53c-426c-bc7e-e6da289e7b4f" providerId="ADAL" clId="{061FDF7F-9982-4F40-8DE4-40EECBDFA11B}" dt="2021-01-14T21:55:14.259" v="89" actId="1035"/>
          <ac:grpSpMkLst>
            <pc:docMk/>
            <pc:sldMk cId="1217463327" sldId="8813"/>
            <ac:grpSpMk id="104" creationId="{7B83C854-B234-4A4F-9830-B5BFA0A49946}"/>
          </ac:grpSpMkLst>
        </pc:grpChg>
        <pc:grpChg chg="mod">
          <ac:chgData name="Tereza Mendes" userId="bb2291e0-f53c-426c-bc7e-e6da289e7b4f" providerId="ADAL" clId="{061FDF7F-9982-4F40-8DE4-40EECBDFA11B}" dt="2021-01-14T21:55:14.259" v="89" actId="1035"/>
          <ac:grpSpMkLst>
            <pc:docMk/>
            <pc:sldMk cId="1217463327" sldId="8813"/>
            <ac:grpSpMk id="108" creationId="{1FF0DCED-C5DE-4FA3-AC29-7D2032D00302}"/>
          </ac:grpSpMkLst>
        </pc:grpChg>
        <pc:grpChg chg="mod">
          <ac:chgData name="Tereza Mendes" userId="bb2291e0-f53c-426c-bc7e-e6da289e7b4f" providerId="ADAL" clId="{061FDF7F-9982-4F40-8DE4-40EECBDFA11B}" dt="2021-01-14T21:55:14.259" v="89" actId="1035"/>
          <ac:grpSpMkLst>
            <pc:docMk/>
            <pc:sldMk cId="1217463327" sldId="8813"/>
            <ac:grpSpMk id="112" creationId="{08E7BB5C-3773-46EE-BD6F-7BA57D9A54C9}"/>
          </ac:grpSpMkLst>
        </pc:grpChg>
        <pc:graphicFrameChg chg="mod modGraphic">
          <ac:chgData name="Tereza Mendes" userId="bb2291e0-f53c-426c-bc7e-e6da289e7b4f" providerId="ADAL" clId="{061FDF7F-9982-4F40-8DE4-40EECBDFA11B}" dt="2021-01-14T21:59:03.025" v="99" actId="1036"/>
          <ac:graphicFrameMkLst>
            <pc:docMk/>
            <pc:sldMk cId="1217463327" sldId="8813"/>
            <ac:graphicFrameMk id="72" creationId="{8873D12B-D705-4978-8DEF-54E51B6AC481}"/>
          </ac:graphicFrameMkLst>
        </pc:graphicFrameChg>
        <pc:cxnChg chg="mod">
          <ac:chgData name="Tereza Mendes" userId="bb2291e0-f53c-426c-bc7e-e6da289e7b4f" providerId="ADAL" clId="{061FDF7F-9982-4F40-8DE4-40EECBDFA11B}" dt="2021-01-14T21:54:59.260" v="75" actId="1035"/>
          <ac:cxnSpMkLst>
            <pc:docMk/>
            <pc:sldMk cId="1217463327" sldId="8813"/>
            <ac:cxnSpMk id="97" creationId="{4B65FA64-C123-47F7-B0D8-1E0736891B2C}"/>
          </ac:cxnSpMkLst>
        </pc:cxnChg>
      </pc:sldChg>
      <pc:sldChg chg="modSp">
        <pc:chgData name="Tereza Mendes" userId="bb2291e0-f53c-426c-bc7e-e6da289e7b4f" providerId="ADAL" clId="{061FDF7F-9982-4F40-8DE4-40EECBDFA11B}" dt="2021-01-14T21:54:18.609" v="51" actId="1036"/>
        <pc:sldMkLst>
          <pc:docMk/>
          <pc:sldMk cId="3182445471" sldId="8816"/>
        </pc:sldMkLst>
        <pc:spChg chg="mod">
          <ac:chgData name="Tereza Mendes" userId="bb2291e0-f53c-426c-bc7e-e6da289e7b4f" providerId="ADAL" clId="{061FDF7F-9982-4F40-8DE4-40EECBDFA11B}" dt="2021-01-14T13:42:01.676" v="8" actId="20577"/>
          <ac:spMkLst>
            <pc:docMk/>
            <pc:sldMk cId="3182445471" sldId="8816"/>
            <ac:spMk id="22" creationId="{E060B505-35F3-4C33-BF48-454E392F65A2}"/>
          </ac:spMkLst>
        </pc:spChg>
        <pc:spChg chg="mod">
          <ac:chgData name="Tereza Mendes" userId="bb2291e0-f53c-426c-bc7e-e6da289e7b4f" providerId="ADAL" clId="{061FDF7F-9982-4F40-8DE4-40EECBDFA11B}" dt="2021-01-14T11:26:59.390" v="2" actId="20577"/>
          <ac:spMkLst>
            <pc:docMk/>
            <pc:sldMk cId="3182445471" sldId="8816"/>
            <ac:spMk id="128" creationId="{2BD5812D-6B22-4CA5-A1D4-F59E022F28E1}"/>
          </ac:spMkLst>
        </pc:spChg>
        <pc:grpChg chg="mod">
          <ac:chgData name="Tereza Mendes" userId="bb2291e0-f53c-426c-bc7e-e6da289e7b4f" providerId="ADAL" clId="{061FDF7F-9982-4F40-8DE4-40EECBDFA11B}" dt="2021-01-14T21:54:18.609" v="51" actId="1036"/>
          <ac:grpSpMkLst>
            <pc:docMk/>
            <pc:sldMk cId="3182445471" sldId="8816"/>
            <ac:grpSpMk id="8" creationId="{B98F1AA4-AAB4-49E6-AF5B-77F89CEDE85E}"/>
          </ac:grpSpMkLst>
        </pc:grpChg>
        <pc:grpChg chg="mod">
          <ac:chgData name="Tereza Mendes" userId="bb2291e0-f53c-426c-bc7e-e6da289e7b4f" providerId="ADAL" clId="{061FDF7F-9982-4F40-8DE4-40EECBDFA11B}" dt="2021-01-14T21:54:18.609" v="51" actId="1036"/>
          <ac:grpSpMkLst>
            <pc:docMk/>
            <pc:sldMk cId="3182445471" sldId="8816"/>
            <ac:grpSpMk id="44" creationId="{42D18C3A-0525-4B08-A501-39F7CE0E3BC3}"/>
          </ac:grpSpMkLst>
        </pc:grpChg>
        <pc:grpChg chg="mod">
          <ac:chgData name="Tereza Mendes" userId="bb2291e0-f53c-426c-bc7e-e6da289e7b4f" providerId="ADAL" clId="{061FDF7F-9982-4F40-8DE4-40EECBDFA11B}" dt="2021-01-14T21:54:18.609" v="51" actId="1036"/>
          <ac:grpSpMkLst>
            <pc:docMk/>
            <pc:sldMk cId="3182445471" sldId="8816"/>
            <ac:grpSpMk id="125" creationId="{0B6AF47B-1DE1-4867-8EEF-2FCD039E7B64}"/>
          </ac:grpSpMkLst>
        </pc:grpChg>
        <pc:graphicFrameChg chg="mod modGraphic">
          <ac:chgData name="Tereza Mendes" userId="bb2291e0-f53c-426c-bc7e-e6da289e7b4f" providerId="ADAL" clId="{061FDF7F-9982-4F40-8DE4-40EECBDFA11B}" dt="2021-01-14T21:54:15.957" v="48" actId="14100"/>
          <ac:graphicFrameMkLst>
            <pc:docMk/>
            <pc:sldMk cId="3182445471" sldId="8816"/>
            <ac:graphicFrameMk id="7" creationId="{16CB7E22-3BAD-4002-B248-E208A823C213}"/>
          </ac:graphicFrameMkLst>
        </pc:graphicFrameChg>
      </pc:sldChg>
    </pc:docChg>
  </pc:docChgLst>
  <pc:docChgLst>
    <pc:chgData name="Tereza Mendes" userId="bb2291e0-f53c-426c-bc7e-e6da289e7b4f" providerId="ADAL" clId="{4E2D14C3-4C81-4449-96AF-2D365022FBEF}"/>
    <pc:docChg chg="undo redo custSel addSld delSld modSld sldOrd modSection">
      <pc:chgData name="Tereza Mendes" userId="bb2291e0-f53c-426c-bc7e-e6da289e7b4f" providerId="ADAL" clId="{4E2D14C3-4C81-4449-96AF-2D365022FBEF}" dt="2021-01-08T21:56:33.970" v="10946" actId="20577"/>
      <pc:docMkLst>
        <pc:docMk/>
      </pc:docMkLst>
      <pc:sldChg chg="modSp">
        <pc:chgData name="Tereza Mendes" userId="bb2291e0-f53c-426c-bc7e-e6da289e7b4f" providerId="ADAL" clId="{4E2D14C3-4C81-4449-96AF-2D365022FBEF}" dt="2021-01-06T21:34:51.088" v="10373" actId="20577"/>
        <pc:sldMkLst>
          <pc:docMk/>
          <pc:sldMk cId="2894463681" sldId="298"/>
        </pc:sldMkLst>
        <pc:spChg chg="mod">
          <ac:chgData name="Tereza Mendes" userId="bb2291e0-f53c-426c-bc7e-e6da289e7b4f" providerId="ADAL" clId="{4E2D14C3-4C81-4449-96AF-2D365022FBEF}" dt="2021-01-06T21:34:51.088" v="10373" actId="20577"/>
          <ac:spMkLst>
            <pc:docMk/>
            <pc:sldMk cId="2894463681" sldId="298"/>
            <ac:spMk id="17" creationId="{D2AFB1DA-0AA1-9144-93B9-B523DC4FFA7D}"/>
          </ac:spMkLst>
        </pc:spChg>
      </pc:sldChg>
      <pc:sldChg chg="modSp">
        <pc:chgData name="Tereza Mendes" userId="bb2291e0-f53c-426c-bc7e-e6da289e7b4f" providerId="ADAL" clId="{4E2D14C3-4C81-4449-96AF-2D365022FBEF}" dt="2020-12-22T18:01:56.563" v="655" actId="20577"/>
        <pc:sldMkLst>
          <pc:docMk/>
          <pc:sldMk cId="0" sldId="1839"/>
        </pc:sldMkLst>
        <pc:spChg chg="mod">
          <ac:chgData name="Tereza Mendes" userId="bb2291e0-f53c-426c-bc7e-e6da289e7b4f" providerId="ADAL" clId="{4E2D14C3-4C81-4449-96AF-2D365022FBEF}" dt="2020-12-22T18:01:56.563" v="655" actId="20577"/>
          <ac:spMkLst>
            <pc:docMk/>
            <pc:sldMk cId="0" sldId="1839"/>
            <ac:spMk id="8" creationId="{A9B5EE92-6EDD-F743-95B9-9C5A738E4F41}"/>
          </ac:spMkLst>
        </pc:spChg>
      </pc:sldChg>
      <pc:sldChg chg="addSp delSp modSp del modTransition">
        <pc:chgData name="Tereza Mendes" userId="bb2291e0-f53c-426c-bc7e-e6da289e7b4f" providerId="ADAL" clId="{4E2D14C3-4C81-4449-96AF-2D365022FBEF}" dt="2021-01-05T11:49:30.246" v="2832" actId="2696"/>
        <pc:sldMkLst>
          <pc:docMk/>
          <pc:sldMk cId="1325684358" sldId="2586"/>
        </pc:sldMkLst>
        <pc:spChg chg="mod">
          <ac:chgData name="Tereza Mendes" userId="bb2291e0-f53c-426c-bc7e-e6da289e7b4f" providerId="ADAL" clId="{4E2D14C3-4C81-4449-96AF-2D365022FBEF}" dt="2020-12-10T20:56:15.379" v="114" actId="14100"/>
          <ac:spMkLst>
            <pc:docMk/>
            <pc:sldMk cId="1325684358" sldId="2586"/>
            <ac:spMk id="2" creationId="{E4065686-F7E1-4579-8528-CCDA6A8807B3}"/>
          </ac:spMkLst>
        </pc:spChg>
        <pc:spChg chg="add mod">
          <ac:chgData name="Tereza Mendes" userId="bb2291e0-f53c-426c-bc7e-e6da289e7b4f" providerId="ADAL" clId="{4E2D14C3-4C81-4449-96AF-2D365022FBEF}" dt="2020-12-10T21:29:43.038" v="592" actId="1037"/>
          <ac:spMkLst>
            <pc:docMk/>
            <pc:sldMk cId="1325684358" sldId="2586"/>
            <ac:spMk id="21" creationId="{483B693C-D8D0-4527-95B2-9B339E3FC4B4}"/>
          </ac:spMkLst>
        </pc:spChg>
        <pc:spChg chg="add mod">
          <ac:chgData name="Tereza Mendes" userId="bb2291e0-f53c-426c-bc7e-e6da289e7b4f" providerId="ADAL" clId="{4E2D14C3-4C81-4449-96AF-2D365022FBEF}" dt="2020-12-10T21:29:18.898" v="582" actId="1076"/>
          <ac:spMkLst>
            <pc:docMk/>
            <pc:sldMk cId="1325684358" sldId="2586"/>
            <ac:spMk id="22" creationId="{E060B505-35F3-4C33-BF48-454E392F65A2}"/>
          </ac:spMkLst>
        </pc:spChg>
        <pc:spChg chg="add mod">
          <ac:chgData name="Tereza Mendes" userId="bb2291e0-f53c-426c-bc7e-e6da289e7b4f" providerId="ADAL" clId="{4E2D14C3-4C81-4449-96AF-2D365022FBEF}" dt="2020-12-10T21:29:43.038" v="592" actId="1037"/>
          <ac:spMkLst>
            <pc:docMk/>
            <pc:sldMk cId="1325684358" sldId="2586"/>
            <ac:spMk id="23" creationId="{299DE8CD-89A7-4303-8009-D673B59C69F9}"/>
          </ac:spMkLst>
        </pc:spChg>
        <pc:spChg chg="add mod">
          <ac:chgData name="Tereza Mendes" userId="bb2291e0-f53c-426c-bc7e-e6da289e7b4f" providerId="ADAL" clId="{4E2D14C3-4C81-4449-96AF-2D365022FBEF}" dt="2020-12-10T21:29:31.971" v="586" actId="1076"/>
          <ac:spMkLst>
            <pc:docMk/>
            <pc:sldMk cId="1325684358" sldId="2586"/>
            <ac:spMk id="24" creationId="{84606046-6D83-4263-BCE5-D18F6E7240AD}"/>
          </ac:spMkLst>
        </pc:spChg>
        <pc:spChg chg="add mod">
          <ac:chgData name="Tereza Mendes" userId="bb2291e0-f53c-426c-bc7e-e6da289e7b4f" providerId="ADAL" clId="{4E2D14C3-4C81-4449-96AF-2D365022FBEF}" dt="2020-12-10T21:21:11.838" v="463" actId="1076"/>
          <ac:spMkLst>
            <pc:docMk/>
            <pc:sldMk cId="1325684358" sldId="2586"/>
            <ac:spMk id="25" creationId="{C61B2CB8-D014-4528-9E2D-BCE3269758B2}"/>
          </ac:spMkLst>
        </pc:spChg>
        <pc:spChg chg="add 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26" creationId="{EA4BDB3F-63A4-478E-A018-9E476F7A3095}"/>
          </ac:spMkLst>
        </pc:spChg>
        <pc:spChg chg="add 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27" creationId="{694A00F1-BD63-438F-92EE-3B043DA5E5E8}"/>
          </ac:spMkLst>
        </pc:spChg>
        <pc:spChg chg="add 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28" creationId="{3CDBFB40-DD9E-429A-A240-B769BC0B1502}"/>
          </ac:spMkLst>
        </pc:spChg>
        <pc:spChg chg="add 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29" creationId="{B5D394A7-F25A-452B-8600-A2B3DB0656D2}"/>
          </ac:spMkLst>
        </pc:spChg>
        <pc:spChg chg="add 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30" creationId="{D8D5A477-74FA-430C-BD91-80427500892C}"/>
          </ac:spMkLst>
        </pc:spChg>
        <pc:spChg chg="add mod">
          <ac:chgData name="Tereza Mendes" userId="bb2291e0-f53c-426c-bc7e-e6da289e7b4f" providerId="ADAL" clId="{4E2D14C3-4C81-4449-96AF-2D365022FBEF}" dt="2020-12-10T23:23:06.762" v="599" actId="14100"/>
          <ac:spMkLst>
            <pc:docMk/>
            <pc:sldMk cId="1325684358" sldId="2586"/>
            <ac:spMk id="33" creationId="{87B3AD2F-4C40-42AD-90EE-AC46B8B59E0A}"/>
          </ac:spMkLst>
        </pc:spChg>
        <pc:spChg chg="add mod">
          <ac:chgData name="Tereza Mendes" userId="bb2291e0-f53c-426c-bc7e-e6da289e7b4f" providerId="ADAL" clId="{4E2D14C3-4C81-4449-96AF-2D365022FBEF}" dt="2020-12-10T23:23:06.762" v="599" actId="14100"/>
          <ac:spMkLst>
            <pc:docMk/>
            <pc:sldMk cId="1325684358" sldId="2586"/>
            <ac:spMk id="34" creationId="{6FFAF3A4-E967-4B51-AF55-21DCE9DA3E64}"/>
          </ac:spMkLst>
        </pc:spChg>
        <pc:spChg chg="del mod">
          <ac:chgData name="Tereza Mendes" userId="bb2291e0-f53c-426c-bc7e-e6da289e7b4f" providerId="ADAL" clId="{4E2D14C3-4C81-4449-96AF-2D365022FBEF}" dt="2020-12-10T21:21:48.651" v="471" actId="478"/>
          <ac:spMkLst>
            <pc:docMk/>
            <pc:sldMk cId="1325684358" sldId="2586"/>
            <ac:spMk id="53" creationId="{01898525-1415-40F2-A04D-799F614A28C7}"/>
          </ac:spMkLst>
        </pc:spChg>
        <pc:spChg chg="mod">
          <ac:chgData name="Tereza Mendes" userId="bb2291e0-f53c-426c-bc7e-e6da289e7b4f" providerId="ADAL" clId="{4E2D14C3-4C81-4449-96AF-2D365022FBEF}" dt="2020-12-10T21:28:12.218" v="525" actId="1036"/>
          <ac:spMkLst>
            <pc:docMk/>
            <pc:sldMk cId="1325684358" sldId="2586"/>
            <ac:spMk id="55" creationId="{7323DA5A-4408-426A-91E1-0F83AC1B4AF1}"/>
          </ac:spMkLst>
        </pc:spChg>
        <pc:spChg chg="mod">
          <ac:chgData name="Tereza Mendes" userId="bb2291e0-f53c-426c-bc7e-e6da289e7b4f" providerId="ADAL" clId="{4E2D14C3-4C81-4449-96AF-2D365022FBEF}" dt="2020-12-10T21:21:47.013" v="470" actId="207"/>
          <ac:spMkLst>
            <pc:docMk/>
            <pc:sldMk cId="1325684358" sldId="2586"/>
            <ac:spMk id="57" creationId="{7E1B360E-6994-4924-ADC0-60698AFAA44F}"/>
          </ac:spMkLst>
        </pc:spChg>
        <pc:spChg chg="mod">
          <ac:chgData name="Tereza Mendes" userId="bb2291e0-f53c-426c-bc7e-e6da289e7b4f" providerId="ADAL" clId="{4E2D14C3-4C81-4449-96AF-2D365022FBEF}" dt="2020-12-10T21:21:21.062" v="466" actId="14100"/>
          <ac:spMkLst>
            <pc:docMk/>
            <pc:sldMk cId="1325684358" sldId="2586"/>
            <ac:spMk id="59" creationId="{5FAA9B5E-5BC5-450C-9FE2-C5C73C99FB00}"/>
          </ac:spMkLst>
        </pc:spChg>
        <pc:spChg chg="mod">
          <ac:chgData name="Tereza Mendes" userId="bb2291e0-f53c-426c-bc7e-e6da289e7b4f" providerId="ADAL" clId="{4E2D14C3-4C81-4449-96AF-2D365022FBEF}" dt="2020-12-10T21:21:41.885" v="469" actId="207"/>
          <ac:spMkLst>
            <pc:docMk/>
            <pc:sldMk cId="1325684358" sldId="2586"/>
            <ac:spMk id="65" creationId="{25A8A751-99F3-4C62-B68F-31B7991C02F3}"/>
          </ac:spMkLst>
        </pc:spChg>
        <pc:spChg chg="mod">
          <ac:chgData name="Tereza Mendes" userId="bb2291e0-f53c-426c-bc7e-e6da289e7b4f" providerId="ADAL" clId="{4E2D14C3-4C81-4449-96AF-2D365022FBEF}" dt="2020-12-10T21:21:23.111" v="467" actId="403"/>
          <ac:spMkLst>
            <pc:docMk/>
            <pc:sldMk cId="1325684358" sldId="2586"/>
            <ac:spMk id="66" creationId="{46CEDF37-3084-4DCE-B06F-58C3B59DC869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72" creationId="{CB6056BD-1406-41A6-A359-7BB2269D890F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73" creationId="{F1B9CD8C-2FDC-4C00-9ED8-DD6A787206AF}"/>
          </ac:spMkLst>
        </pc:spChg>
        <pc:spChg chg="add del mod">
          <ac:chgData name="Tereza Mendes" userId="bb2291e0-f53c-426c-bc7e-e6da289e7b4f" providerId="ADAL" clId="{4E2D14C3-4C81-4449-96AF-2D365022FBEF}" dt="2020-12-10T23:23:24.103" v="604" actId="478"/>
          <ac:spMkLst>
            <pc:docMk/>
            <pc:sldMk cId="1325684358" sldId="2586"/>
            <ac:spMk id="74" creationId="{F081FC76-46B2-4E35-AE6E-F905E44E4462}"/>
          </ac:spMkLst>
        </pc:spChg>
        <pc:spChg chg="add del mod">
          <ac:chgData name="Tereza Mendes" userId="bb2291e0-f53c-426c-bc7e-e6da289e7b4f" providerId="ADAL" clId="{4E2D14C3-4C81-4449-96AF-2D365022FBEF}" dt="2020-12-10T23:23:16.981" v="601" actId="478"/>
          <ac:spMkLst>
            <pc:docMk/>
            <pc:sldMk cId="1325684358" sldId="2586"/>
            <ac:spMk id="75" creationId="{2505BF52-852D-476E-8CEB-4A00997FAECD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76" creationId="{654B7516-57F0-42E7-94BB-B223817D2044}"/>
          </ac:spMkLst>
        </pc:spChg>
        <pc:spChg chg="mod">
          <ac:chgData name="Tereza Mendes" userId="bb2291e0-f53c-426c-bc7e-e6da289e7b4f" providerId="ADAL" clId="{4E2D14C3-4C81-4449-96AF-2D365022FBEF}" dt="2020-12-10T20:36:39.207" v="1" actId="1076"/>
          <ac:spMkLst>
            <pc:docMk/>
            <pc:sldMk cId="1325684358" sldId="2586"/>
            <ac:spMk id="77" creationId="{C2DE199B-22C6-41FE-A344-08EA200C296D}"/>
          </ac:spMkLst>
        </pc:spChg>
        <pc:spChg chg="mod">
          <ac:chgData name="Tereza Mendes" userId="bb2291e0-f53c-426c-bc7e-e6da289e7b4f" providerId="ADAL" clId="{4E2D14C3-4C81-4449-96AF-2D365022FBEF}" dt="2020-12-10T20:36:33.589" v="0" actId="1076"/>
          <ac:spMkLst>
            <pc:docMk/>
            <pc:sldMk cId="1325684358" sldId="2586"/>
            <ac:spMk id="78" creationId="{D8BA5B42-82D6-4869-8E4F-45DD5C7C8DE1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79" creationId="{26E517E8-3590-4C7D-BEC6-8B6D610894C8}"/>
          </ac:spMkLst>
        </pc:spChg>
        <pc:spChg chg="add del mod">
          <ac:chgData name="Tereza Mendes" userId="bb2291e0-f53c-426c-bc7e-e6da289e7b4f" providerId="ADAL" clId="{4E2D14C3-4C81-4449-96AF-2D365022FBEF}" dt="2020-12-10T23:23:16.981" v="601" actId="478"/>
          <ac:spMkLst>
            <pc:docMk/>
            <pc:sldMk cId="1325684358" sldId="2586"/>
            <ac:spMk id="80" creationId="{F11145F0-D924-40E2-8D55-C1A3C8703724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81" creationId="{5B2C6EEF-46D3-46D8-BAC0-8CA78B12EC9F}"/>
          </ac:spMkLst>
        </pc:spChg>
        <pc:spChg chg="add del mod">
          <ac:chgData name="Tereza Mendes" userId="bb2291e0-f53c-426c-bc7e-e6da289e7b4f" providerId="ADAL" clId="{4E2D14C3-4C81-4449-96AF-2D365022FBEF}" dt="2020-12-10T23:23:16.981" v="601" actId="478"/>
          <ac:spMkLst>
            <pc:docMk/>
            <pc:sldMk cId="1325684358" sldId="2586"/>
            <ac:spMk id="82" creationId="{AC882E45-798A-443B-8FFE-DE8B37856485}"/>
          </ac:spMkLst>
        </pc:spChg>
        <pc:spChg chg="add del mod">
          <ac:chgData name="Tereza Mendes" userId="bb2291e0-f53c-426c-bc7e-e6da289e7b4f" providerId="ADAL" clId="{4E2D14C3-4C81-4449-96AF-2D365022FBEF}" dt="2020-12-10T23:23:19.998" v="602" actId="478"/>
          <ac:spMkLst>
            <pc:docMk/>
            <pc:sldMk cId="1325684358" sldId="2586"/>
            <ac:spMk id="83" creationId="{758AEB8E-82DF-4626-9D94-0C3C576D26B8}"/>
          </ac:spMkLst>
        </pc:spChg>
        <pc:spChg chg="add mod">
          <ac:chgData name="Tereza Mendes" userId="bb2291e0-f53c-426c-bc7e-e6da289e7b4f" providerId="ADAL" clId="{4E2D14C3-4C81-4449-96AF-2D365022FBEF}" dt="2020-12-10T23:23:06.762" v="599" actId="14100"/>
          <ac:spMkLst>
            <pc:docMk/>
            <pc:sldMk cId="1325684358" sldId="2586"/>
            <ac:spMk id="84" creationId="{4969696D-A320-4780-A405-F6CC983B0C92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85" creationId="{0B7058ED-3D56-449F-A0E1-E19293B3EE32}"/>
          </ac:spMkLst>
        </pc:spChg>
        <pc:spChg chg="add mod">
          <ac:chgData name="Tereza Mendes" userId="bb2291e0-f53c-426c-bc7e-e6da289e7b4f" providerId="ADAL" clId="{4E2D14C3-4C81-4449-96AF-2D365022FBEF}" dt="2020-12-10T23:23:06.762" v="599" actId="14100"/>
          <ac:spMkLst>
            <pc:docMk/>
            <pc:sldMk cId="1325684358" sldId="2586"/>
            <ac:spMk id="86" creationId="{B892D46C-D6F2-4D0B-BC90-86F5F5A33559}"/>
          </ac:spMkLst>
        </pc:spChg>
        <pc:spChg chg="add del mod">
          <ac:chgData name="Tereza Mendes" userId="bb2291e0-f53c-426c-bc7e-e6da289e7b4f" providerId="ADAL" clId="{4E2D14C3-4C81-4449-96AF-2D365022FBEF}" dt="2020-12-10T23:23:16.981" v="601" actId="478"/>
          <ac:spMkLst>
            <pc:docMk/>
            <pc:sldMk cId="1325684358" sldId="2586"/>
            <ac:spMk id="87" creationId="{7F30129D-15EB-43D6-AAEF-BBB1BD0D914F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88" creationId="{0CEE0606-90A8-4C64-9216-CBFB2CAB5CA2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89" creationId="{E54C2D01-36C4-4E35-8D12-DE63172D655F}"/>
          </ac:spMkLst>
        </pc:spChg>
        <pc:spChg chg="add del mod">
          <ac:chgData name="Tereza Mendes" userId="bb2291e0-f53c-426c-bc7e-e6da289e7b4f" providerId="ADAL" clId="{4E2D14C3-4C81-4449-96AF-2D365022FBEF}" dt="2020-12-10T23:23:12.442" v="600" actId="478"/>
          <ac:spMkLst>
            <pc:docMk/>
            <pc:sldMk cId="1325684358" sldId="2586"/>
            <ac:spMk id="90" creationId="{EF24C50D-884D-4A32-9BE1-6BAD94673F95}"/>
          </ac:spMkLst>
        </pc:spChg>
        <pc:grpChg chg="add del mod">
          <ac:chgData name="Tereza Mendes" userId="bb2291e0-f53c-426c-bc7e-e6da289e7b4f" providerId="ADAL" clId="{4E2D14C3-4C81-4449-96AF-2D365022FBEF}" dt="2020-12-10T23:23:12.442" v="600" actId="478"/>
          <ac:grpSpMkLst>
            <pc:docMk/>
            <pc:sldMk cId="1325684358" sldId="2586"/>
            <ac:grpSpMk id="35" creationId="{A2652D2A-C824-4453-8B27-4A455C04CA9A}"/>
          </ac:grpSpMkLst>
        </pc:grpChg>
        <pc:grpChg chg="add del mod">
          <ac:chgData name="Tereza Mendes" userId="bb2291e0-f53c-426c-bc7e-e6da289e7b4f" providerId="ADAL" clId="{4E2D14C3-4C81-4449-96AF-2D365022FBEF}" dt="2020-12-10T23:23:12.442" v="600" actId="478"/>
          <ac:grpSpMkLst>
            <pc:docMk/>
            <pc:sldMk cId="1325684358" sldId="2586"/>
            <ac:grpSpMk id="38" creationId="{E5C99335-37B3-41F9-95D9-4CED35B69B2A}"/>
          </ac:grpSpMkLst>
        </pc:grpChg>
        <pc:grpChg chg="add del mod">
          <ac:chgData name="Tereza Mendes" userId="bb2291e0-f53c-426c-bc7e-e6da289e7b4f" providerId="ADAL" clId="{4E2D14C3-4C81-4449-96AF-2D365022FBEF}" dt="2020-12-10T23:23:16.981" v="601" actId="478"/>
          <ac:grpSpMkLst>
            <pc:docMk/>
            <pc:sldMk cId="1325684358" sldId="2586"/>
            <ac:grpSpMk id="41" creationId="{E8BFF92B-B527-47BF-A28E-E9017B8BAAB8}"/>
          </ac:grpSpMkLst>
        </pc:grpChg>
        <pc:grpChg chg="add del mod">
          <ac:chgData name="Tereza Mendes" userId="bb2291e0-f53c-426c-bc7e-e6da289e7b4f" providerId="ADAL" clId="{4E2D14C3-4C81-4449-96AF-2D365022FBEF}" dt="2020-12-10T23:23:12.442" v="600" actId="478"/>
          <ac:grpSpMkLst>
            <pc:docMk/>
            <pc:sldMk cId="1325684358" sldId="2586"/>
            <ac:grpSpMk id="44" creationId="{45B05F1A-0788-48D4-BF1A-639C078B7D30}"/>
          </ac:grpSpMkLst>
        </pc:grpChg>
        <pc:grpChg chg="add del mod">
          <ac:chgData name="Tereza Mendes" userId="bb2291e0-f53c-426c-bc7e-e6da289e7b4f" providerId="ADAL" clId="{4E2D14C3-4C81-4449-96AF-2D365022FBEF}" dt="2020-12-10T23:23:16.981" v="601" actId="478"/>
          <ac:grpSpMkLst>
            <pc:docMk/>
            <pc:sldMk cId="1325684358" sldId="2586"/>
            <ac:grpSpMk id="47" creationId="{3E3AB46C-B67F-4AC2-8348-2C48656D3E98}"/>
          </ac:grpSpMkLst>
        </pc:grpChg>
        <pc:grpChg chg="add del mod">
          <ac:chgData name="Tereza Mendes" userId="bb2291e0-f53c-426c-bc7e-e6da289e7b4f" providerId="ADAL" clId="{4E2D14C3-4C81-4449-96AF-2D365022FBEF}" dt="2020-12-10T23:23:22.415" v="603" actId="478"/>
          <ac:grpSpMkLst>
            <pc:docMk/>
            <pc:sldMk cId="1325684358" sldId="2586"/>
            <ac:grpSpMk id="51" creationId="{687FE218-05D0-4947-B385-C18897821030}"/>
          </ac:grpSpMkLst>
        </pc:grpChg>
        <pc:grpChg chg="mod">
          <ac:chgData name="Tereza Mendes" userId="bb2291e0-f53c-426c-bc7e-e6da289e7b4f" providerId="ADAL" clId="{4E2D14C3-4C81-4449-96AF-2D365022FBEF}" dt="2020-12-10T21:21:16.271" v="464" actId="1076"/>
          <ac:grpSpMkLst>
            <pc:docMk/>
            <pc:sldMk cId="1325684358" sldId="2586"/>
            <ac:grpSpMk id="56" creationId="{3E8B4AD0-3BDD-4F5A-9C6C-58C724FDD305}"/>
          </ac:grpSpMkLst>
        </pc:grpChg>
        <pc:grpChg chg="add del mod">
          <ac:chgData name="Tereza Mendes" userId="bb2291e0-f53c-426c-bc7e-e6da289e7b4f" providerId="ADAL" clId="{4E2D14C3-4C81-4449-96AF-2D365022FBEF}" dt="2020-12-10T23:23:16.981" v="601" actId="478"/>
          <ac:grpSpMkLst>
            <pc:docMk/>
            <pc:sldMk cId="1325684358" sldId="2586"/>
            <ac:grpSpMk id="58" creationId="{9B05ED65-65A3-40FE-830D-F95C158A307F}"/>
          </ac:grpSpMkLst>
        </pc:grpChg>
        <pc:grpChg chg="add del mod">
          <ac:chgData name="Tereza Mendes" userId="bb2291e0-f53c-426c-bc7e-e6da289e7b4f" providerId="ADAL" clId="{4E2D14C3-4C81-4449-96AF-2D365022FBEF}" dt="2020-12-10T23:23:12.442" v="600" actId="478"/>
          <ac:grpSpMkLst>
            <pc:docMk/>
            <pc:sldMk cId="1325684358" sldId="2586"/>
            <ac:grpSpMk id="62" creationId="{65D93CB0-29EA-4A43-A7C7-5A0646A9843A}"/>
          </ac:grpSpMkLst>
        </pc:grpChg>
        <pc:grpChg chg="mod">
          <ac:chgData name="Tereza Mendes" userId="bb2291e0-f53c-426c-bc7e-e6da289e7b4f" providerId="ADAL" clId="{4E2D14C3-4C81-4449-96AF-2D365022FBEF}" dt="2020-12-10T21:21:16.271" v="464" actId="1076"/>
          <ac:grpSpMkLst>
            <pc:docMk/>
            <pc:sldMk cId="1325684358" sldId="2586"/>
            <ac:grpSpMk id="64" creationId="{3BD949F4-8811-40CA-B3B6-45269F426009}"/>
          </ac:grpSpMkLst>
        </pc:grpChg>
        <pc:grpChg chg="add del mod">
          <ac:chgData name="Tereza Mendes" userId="bb2291e0-f53c-426c-bc7e-e6da289e7b4f" providerId="ADAL" clId="{4E2D14C3-4C81-4449-96AF-2D365022FBEF}" dt="2020-12-10T23:23:12.442" v="600" actId="478"/>
          <ac:grpSpMkLst>
            <pc:docMk/>
            <pc:sldMk cId="1325684358" sldId="2586"/>
            <ac:grpSpMk id="68" creationId="{54B6F54E-47B7-44C2-8614-837676980B97}"/>
          </ac:grpSpMkLst>
        </pc:grpChg>
        <pc:grpChg chg="mod">
          <ac:chgData name="Tereza Mendes" userId="bb2291e0-f53c-426c-bc7e-e6da289e7b4f" providerId="ADAL" clId="{4E2D14C3-4C81-4449-96AF-2D365022FBEF}" dt="2020-12-10T20:37:54.709" v="5" actId="1076"/>
          <ac:grpSpMkLst>
            <pc:docMk/>
            <pc:sldMk cId="1325684358" sldId="2586"/>
            <ac:grpSpMk id="120" creationId="{60EEAC3B-F2B5-4626-BD55-A0361A602F15}"/>
          </ac:grpSpMkLst>
        </pc:grpChg>
        <pc:graphicFrameChg chg="add del mod">
          <ac:chgData name="Tereza Mendes" userId="bb2291e0-f53c-426c-bc7e-e6da289e7b4f" providerId="ADAL" clId="{4E2D14C3-4C81-4449-96AF-2D365022FBEF}" dt="2020-12-10T21:28:53.509" v="562" actId="478"/>
          <ac:graphicFrameMkLst>
            <pc:docMk/>
            <pc:sldMk cId="1325684358" sldId="2586"/>
            <ac:graphicFrameMk id="3" creationId="{59BCAF28-39F4-4A6E-82D8-ED9D9AAE4DDE}"/>
          </ac:graphicFrameMkLst>
        </pc:graphicFrameChg>
        <pc:graphicFrameChg chg="mod modGraphic">
          <ac:chgData name="Tereza Mendes" userId="bb2291e0-f53c-426c-bc7e-e6da289e7b4f" providerId="ADAL" clId="{4E2D14C3-4C81-4449-96AF-2D365022FBEF}" dt="2020-12-10T23:21:38.460" v="596" actId="20577"/>
          <ac:graphicFrameMkLst>
            <pc:docMk/>
            <pc:sldMk cId="1325684358" sldId="2586"/>
            <ac:graphicFrameMk id="7" creationId="{16CB7E22-3BAD-4002-B248-E208A823C213}"/>
          </ac:graphicFrameMkLst>
        </pc:graphicFrameChg>
        <pc:graphicFrameChg chg="add mod modGraphic">
          <ac:chgData name="Tereza Mendes" userId="bb2291e0-f53c-426c-bc7e-e6da289e7b4f" providerId="ADAL" clId="{4E2D14C3-4C81-4449-96AF-2D365022FBEF}" dt="2020-12-10T23:23:31.748" v="606" actId="1038"/>
          <ac:graphicFrameMkLst>
            <pc:docMk/>
            <pc:sldMk cId="1325684358" sldId="2586"/>
            <ac:graphicFrameMk id="32" creationId="{0A256015-4EF3-4D4A-BF36-9BE0C0FECD74}"/>
          </ac:graphicFrameMkLst>
        </pc:graphicFrameChg>
      </pc:sldChg>
      <pc:sldChg chg="del">
        <pc:chgData name="Tereza Mendes" userId="bb2291e0-f53c-426c-bc7e-e6da289e7b4f" providerId="ADAL" clId="{4E2D14C3-4C81-4449-96AF-2D365022FBEF}" dt="2021-01-05T12:18:41.949" v="2906" actId="2696"/>
        <pc:sldMkLst>
          <pc:docMk/>
          <pc:sldMk cId="2577571386" sldId="2590"/>
        </pc:sldMkLst>
      </pc:sldChg>
      <pc:sldChg chg="ord">
        <pc:chgData name="Tereza Mendes" userId="bb2291e0-f53c-426c-bc7e-e6da289e7b4f" providerId="ADAL" clId="{4E2D14C3-4C81-4449-96AF-2D365022FBEF}" dt="2021-01-05T17:23:20.020" v="4329"/>
        <pc:sldMkLst>
          <pc:docMk/>
          <pc:sldMk cId="1969208108" sldId="2603"/>
        </pc:sldMkLst>
      </pc:sldChg>
      <pc:sldChg chg="modSp">
        <pc:chgData name="Tereza Mendes" userId="bb2291e0-f53c-426c-bc7e-e6da289e7b4f" providerId="ADAL" clId="{4E2D14C3-4C81-4449-96AF-2D365022FBEF}" dt="2021-01-05T18:26:33.286" v="5096" actId="20577"/>
        <pc:sldMkLst>
          <pc:docMk/>
          <pc:sldMk cId="2640036050" sldId="2608"/>
        </pc:sldMkLst>
        <pc:spChg chg="mod">
          <ac:chgData name="Tereza Mendes" userId="bb2291e0-f53c-426c-bc7e-e6da289e7b4f" providerId="ADAL" clId="{4E2D14C3-4C81-4449-96AF-2D365022FBEF}" dt="2021-01-05T18:26:33.286" v="5096" actId="20577"/>
          <ac:spMkLst>
            <pc:docMk/>
            <pc:sldMk cId="2640036050" sldId="2608"/>
            <ac:spMk id="120" creationId="{00000000-0000-0000-0000-000000000000}"/>
          </ac:spMkLst>
        </pc:spChg>
      </pc:sldChg>
      <pc:sldChg chg="addSp delSp modSp ord">
        <pc:chgData name="Tereza Mendes" userId="bb2291e0-f53c-426c-bc7e-e6da289e7b4f" providerId="ADAL" clId="{4E2D14C3-4C81-4449-96AF-2D365022FBEF}" dt="2021-01-08T12:44:39.983" v="10632" actId="13926"/>
        <pc:sldMkLst>
          <pc:docMk/>
          <pc:sldMk cId="461259891" sldId="2612"/>
        </pc:sldMkLst>
        <pc:spChg chg="mod">
          <ac:chgData name="Tereza Mendes" userId="bb2291e0-f53c-426c-bc7e-e6da289e7b4f" providerId="ADAL" clId="{4E2D14C3-4C81-4449-96AF-2D365022FBEF}" dt="2021-01-05T16:32:38.591" v="3719" actId="20577"/>
          <ac:spMkLst>
            <pc:docMk/>
            <pc:sldMk cId="461259891" sldId="2612"/>
            <ac:spMk id="2" creationId="{E4065686-F7E1-4579-8528-CCDA6A8807B3}"/>
          </ac:spMkLst>
        </pc:spChg>
        <pc:spChg chg="add mod">
          <ac:chgData name="Tereza Mendes" userId="bb2291e0-f53c-426c-bc7e-e6da289e7b4f" providerId="ADAL" clId="{4E2D14C3-4C81-4449-96AF-2D365022FBEF}" dt="2020-12-22T20:42:16.797" v="2810" actId="1035"/>
          <ac:spMkLst>
            <pc:docMk/>
            <pc:sldMk cId="461259891" sldId="2612"/>
            <ac:spMk id="17" creationId="{EE9A4875-21A8-4E08-9778-FECEDED0A2AF}"/>
          </ac:spMkLst>
        </pc:spChg>
        <pc:spChg chg="add mod">
          <ac:chgData name="Tereza Mendes" userId="bb2291e0-f53c-426c-bc7e-e6da289e7b4f" providerId="ADAL" clId="{4E2D14C3-4C81-4449-96AF-2D365022FBEF}" dt="2021-01-06T14:19:10.130" v="6763" actId="14100"/>
          <ac:spMkLst>
            <pc:docMk/>
            <pc:sldMk cId="461259891" sldId="2612"/>
            <ac:spMk id="18" creationId="{F5324C2C-CCBC-477E-84A9-702970A4CF72}"/>
          </ac:spMkLst>
        </pc:spChg>
        <pc:spChg chg="add mod">
          <ac:chgData name="Tereza Mendes" userId="bb2291e0-f53c-426c-bc7e-e6da289e7b4f" providerId="ADAL" clId="{4E2D14C3-4C81-4449-96AF-2D365022FBEF}" dt="2021-01-06T14:19:49.221" v="6790" actId="1038"/>
          <ac:spMkLst>
            <pc:docMk/>
            <pc:sldMk cId="461259891" sldId="2612"/>
            <ac:spMk id="19" creationId="{77B30FFB-986A-43D4-96A5-644C11DCABA1}"/>
          </ac:spMkLst>
        </pc:spChg>
        <pc:spChg chg="add del mod">
          <ac:chgData name="Tereza Mendes" userId="bb2291e0-f53c-426c-bc7e-e6da289e7b4f" providerId="ADAL" clId="{4E2D14C3-4C81-4449-96AF-2D365022FBEF}" dt="2020-12-22T19:53:04.114" v="2358" actId="478"/>
          <ac:spMkLst>
            <pc:docMk/>
            <pc:sldMk cId="461259891" sldId="2612"/>
            <ac:spMk id="20" creationId="{7C902A78-279F-4FDA-9435-D0A28523133D}"/>
          </ac:spMkLst>
        </pc:spChg>
        <pc:spChg chg="add del mod">
          <ac:chgData name="Tereza Mendes" userId="bb2291e0-f53c-426c-bc7e-e6da289e7b4f" providerId="ADAL" clId="{4E2D14C3-4C81-4449-96AF-2D365022FBEF}" dt="2020-12-22T19:55:30.949" v="2391" actId="478"/>
          <ac:spMkLst>
            <pc:docMk/>
            <pc:sldMk cId="461259891" sldId="2612"/>
            <ac:spMk id="21" creationId="{69EF4B87-CF80-4EBD-8832-C2A1E4CD4726}"/>
          </ac:spMkLst>
        </pc:spChg>
        <pc:spChg chg="add del mod">
          <ac:chgData name="Tereza Mendes" userId="bb2291e0-f53c-426c-bc7e-e6da289e7b4f" providerId="ADAL" clId="{4E2D14C3-4C81-4449-96AF-2D365022FBEF}" dt="2020-12-22T19:55:15.039" v="2390" actId="478"/>
          <ac:spMkLst>
            <pc:docMk/>
            <pc:sldMk cId="461259891" sldId="2612"/>
            <ac:spMk id="22" creationId="{EF8496C9-0E18-442B-B8F5-0F6025104AC7}"/>
          </ac:spMkLst>
        </pc:spChg>
        <pc:spChg chg="add mod">
          <ac:chgData name="Tereza Mendes" userId="bb2291e0-f53c-426c-bc7e-e6da289e7b4f" providerId="ADAL" clId="{4E2D14C3-4C81-4449-96AF-2D365022FBEF}" dt="2021-01-06T15:05:13.358" v="7156"/>
          <ac:spMkLst>
            <pc:docMk/>
            <pc:sldMk cId="461259891" sldId="2612"/>
            <ac:spMk id="23" creationId="{9B09B1FB-7F54-4443-B5E4-EC261230603C}"/>
          </ac:spMkLst>
        </pc:spChg>
        <pc:spChg chg="add mod">
          <ac:chgData name="Tereza Mendes" userId="bb2291e0-f53c-426c-bc7e-e6da289e7b4f" providerId="ADAL" clId="{4E2D14C3-4C81-4449-96AF-2D365022FBEF}" dt="2020-12-22T20:42:10.289" v="2804" actId="1036"/>
          <ac:spMkLst>
            <pc:docMk/>
            <pc:sldMk cId="461259891" sldId="2612"/>
            <ac:spMk id="24" creationId="{D1454E9C-AFC1-4492-841F-06D47B245A54}"/>
          </ac:spMkLst>
        </pc:spChg>
        <pc:spChg chg="add mod">
          <ac:chgData name="Tereza Mendes" userId="bb2291e0-f53c-426c-bc7e-e6da289e7b4f" providerId="ADAL" clId="{4E2D14C3-4C81-4449-96AF-2D365022FBEF}" dt="2020-12-22T20:42:16.797" v="2810" actId="1035"/>
          <ac:spMkLst>
            <pc:docMk/>
            <pc:sldMk cId="461259891" sldId="2612"/>
            <ac:spMk id="26" creationId="{2E2C6C24-6C33-4180-A0CC-8A87240D6EF5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28" creationId="{485DB145-D603-44EC-9D6B-1E162B47ECDA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29" creationId="{145F0BA9-88B7-4C75-8EBB-01039B2127FD}"/>
          </ac:spMkLst>
        </pc:spChg>
        <pc:spChg chg="add del mod">
          <ac:chgData name="Tereza Mendes" userId="bb2291e0-f53c-426c-bc7e-e6da289e7b4f" providerId="ADAL" clId="{4E2D14C3-4C81-4449-96AF-2D365022FBEF}" dt="2020-12-22T19:53:12.804" v="2359" actId="478"/>
          <ac:spMkLst>
            <pc:docMk/>
            <pc:sldMk cId="461259891" sldId="2612"/>
            <ac:spMk id="30" creationId="{269710C2-B259-4AF0-8E98-EC49A510929B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0" creationId="{FEB3E811-877E-406D-8387-9A09AE6D754D}"/>
          </ac:spMkLst>
        </pc:spChg>
        <pc:spChg chg="add del mod">
          <ac:chgData name="Tereza Mendes" userId="bb2291e0-f53c-426c-bc7e-e6da289e7b4f" providerId="ADAL" clId="{4E2D14C3-4C81-4449-96AF-2D365022FBEF}" dt="2020-12-22T19:53:12.804" v="2359" actId="478"/>
          <ac:spMkLst>
            <pc:docMk/>
            <pc:sldMk cId="461259891" sldId="2612"/>
            <ac:spMk id="31" creationId="{1B39EFE0-A8A5-4251-9F03-D0E3A4184A6E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1" creationId="{E77A1557-44FC-44C7-82BF-B72C88906F10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2" creationId="{D9A752DD-C976-4EC5-9942-104CB2AE0A90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3" creationId="{C70F26F2-4A57-4C36-BECA-95BABA224A5D}"/>
          </ac:spMkLst>
        </pc:spChg>
        <pc:spChg chg="mod">
          <ac:chgData name="Tereza Mendes" userId="bb2291e0-f53c-426c-bc7e-e6da289e7b4f" providerId="ADAL" clId="{4E2D14C3-4C81-4449-96AF-2D365022FBEF}" dt="2021-01-08T12:44:39.983" v="10632" actId="13926"/>
          <ac:spMkLst>
            <pc:docMk/>
            <pc:sldMk cId="461259891" sldId="2612"/>
            <ac:spMk id="34" creationId="{13B98DAC-4356-4A9A-BD8C-4EAF68F258AD}"/>
          </ac:spMkLst>
        </pc:spChg>
        <pc:spChg chg="mod">
          <ac:chgData name="Tereza Mendes" userId="bb2291e0-f53c-426c-bc7e-e6da289e7b4f" providerId="ADAL" clId="{4E2D14C3-4C81-4449-96AF-2D365022FBEF}" dt="2020-12-22T20:42:10.289" v="2804" actId="1036"/>
          <ac:spMkLst>
            <pc:docMk/>
            <pc:sldMk cId="461259891" sldId="2612"/>
            <ac:spMk id="35" creationId="{1706A8F9-E956-4CAC-BE2F-4C652246BE32}"/>
          </ac:spMkLst>
        </pc:spChg>
        <pc:spChg chg="mod">
          <ac:chgData name="Tereza Mendes" userId="bb2291e0-f53c-426c-bc7e-e6da289e7b4f" providerId="ADAL" clId="{4E2D14C3-4C81-4449-96AF-2D365022FBEF}" dt="2020-12-22T20:42:10.289" v="2804" actId="1036"/>
          <ac:spMkLst>
            <pc:docMk/>
            <pc:sldMk cId="461259891" sldId="2612"/>
            <ac:spMk id="36" creationId="{72EB498C-A1FD-4F6E-8930-44745C15D023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7" creationId="{222A6CAB-2810-4751-82F9-FCB075098D92}"/>
          </ac:spMkLst>
        </pc:spChg>
        <pc:spChg chg="mod">
          <ac:chgData name="Tereza Mendes" userId="bb2291e0-f53c-426c-bc7e-e6da289e7b4f" providerId="ADAL" clId="{4E2D14C3-4C81-4449-96AF-2D365022FBEF}" dt="2020-12-22T19:37:27.704" v="2194" actId="20577"/>
          <ac:spMkLst>
            <pc:docMk/>
            <pc:sldMk cId="461259891" sldId="2612"/>
            <ac:spMk id="37" creationId="{DDD74611-C418-4C01-99B7-B5ECE762BBAB}"/>
          </ac:spMkLst>
        </pc:spChg>
        <pc:spChg chg="mod">
          <ac:chgData name="Tereza Mendes" userId="bb2291e0-f53c-426c-bc7e-e6da289e7b4f" providerId="ADAL" clId="{4E2D14C3-4C81-4449-96AF-2D365022FBEF}" dt="2020-12-22T20:42:27.197" v="2819" actId="14100"/>
          <ac:spMkLst>
            <pc:docMk/>
            <pc:sldMk cId="461259891" sldId="2612"/>
            <ac:spMk id="38" creationId="{55C5EEAF-63B8-4762-A3EB-9A151742638D}"/>
          </ac:spMkLst>
        </pc:spChg>
        <pc:spChg chg="del">
          <ac:chgData name="Tereza Mendes" userId="bb2291e0-f53c-426c-bc7e-e6da289e7b4f" providerId="ADAL" clId="{4E2D14C3-4C81-4449-96AF-2D365022FBEF}" dt="2020-12-22T19:08:51.690" v="844" actId="478"/>
          <ac:spMkLst>
            <pc:docMk/>
            <pc:sldMk cId="461259891" sldId="2612"/>
            <ac:spMk id="39" creationId="{1D08D58D-F359-4115-A407-627E88D2DAFC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39" creationId="{C78FE3C3-D5D5-4F4A-8692-C4B62F0B2DB7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40" creationId="{6881BF45-94D2-47CB-AD0E-031FDDE02765}"/>
          </ac:spMkLst>
        </pc:spChg>
        <pc:spChg chg="del">
          <ac:chgData name="Tereza Mendes" userId="bb2291e0-f53c-426c-bc7e-e6da289e7b4f" providerId="ADAL" clId="{4E2D14C3-4C81-4449-96AF-2D365022FBEF}" dt="2020-12-22T19:08:51.690" v="844" actId="478"/>
          <ac:spMkLst>
            <pc:docMk/>
            <pc:sldMk cId="461259891" sldId="2612"/>
            <ac:spMk id="40" creationId="{985C443C-6E93-40B0-9B36-4063432CD6F7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41" creationId="{7FE0EB45-4C71-49A2-A0BE-0B843D529F0E}"/>
          </ac:spMkLst>
        </pc:spChg>
        <pc:spChg chg="del">
          <ac:chgData name="Tereza Mendes" userId="bb2291e0-f53c-426c-bc7e-e6da289e7b4f" providerId="ADAL" clId="{4E2D14C3-4C81-4449-96AF-2D365022FBEF}" dt="2020-12-22T19:08:51.690" v="844" actId="478"/>
          <ac:spMkLst>
            <pc:docMk/>
            <pc:sldMk cId="461259891" sldId="2612"/>
            <ac:spMk id="41" creationId="{CA48C484-B757-41E0-AB40-BAAF58746CAF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42" creationId="{DC1A494E-2893-445D-951B-4F0662267B0F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43" creationId="{81ED5EA3-0263-4726-9FA4-90663EE736FE}"/>
          </ac:spMkLst>
        </pc:spChg>
        <pc:spChg chg="add del mod">
          <ac:chgData name="Tereza Mendes" userId="bb2291e0-f53c-426c-bc7e-e6da289e7b4f" providerId="ADAL" clId="{4E2D14C3-4C81-4449-96AF-2D365022FBEF}" dt="2020-12-22T19:56:32.048" v="2445" actId="478"/>
          <ac:spMkLst>
            <pc:docMk/>
            <pc:sldMk cId="461259891" sldId="2612"/>
            <ac:spMk id="43" creationId="{B8403E19-E41A-4443-99CC-23026D88B735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44" creationId="{26D1F922-540F-47A3-A498-6E34D8B5C32F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45" creationId="{74F65644-C39F-4E50-AC40-02032FB1FF84}"/>
          </ac:spMkLst>
        </pc:spChg>
        <pc:spChg chg="mod">
          <ac:chgData name="Tereza Mendes" userId="bb2291e0-f53c-426c-bc7e-e6da289e7b4f" providerId="ADAL" clId="{4E2D14C3-4C81-4449-96AF-2D365022FBEF}" dt="2020-12-22T18:22:43.990" v="835" actId="13926"/>
          <ac:spMkLst>
            <pc:docMk/>
            <pc:sldMk cId="461259891" sldId="2612"/>
            <ac:spMk id="46" creationId="{346080FC-74B7-4F15-A023-BD28959E5989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47" creationId="{5676F5EE-D2AC-4428-AABE-F043784B4ACB}"/>
          </ac:spMkLst>
        </pc:spChg>
        <pc:spChg chg="del">
          <ac:chgData name="Tereza Mendes" userId="bb2291e0-f53c-426c-bc7e-e6da289e7b4f" providerId="ADAL" clId="{4E2D14C3-4C81-4449-96AF-2D365022FBEF}" dt="2020-12-22T18:22:52.740" v="837" actId="478"/>
          <ac:spMkLst>
            <pc:docMk/>
            <pc:sldMk cId="461259891" sldId="2612"/>
            <ac:spMk id="48" creationId="{21854D85-EEBA-4720-BE8D-0EC6965C3A63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48" creationId="{F07ABD70-5C0C-4FEE-B400-DFB1C92700E6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49" creationId="{BD3E0AF5-F383-4E5B-95D8-D0BCA974EC36}"/>
          </ac:spMkLst>
        </pc:spChg>
        <pc:spChg chg="del mod">
          <ac:chgData name="Tereza Mendes" userId="bb2291e0-f53c-426c-bc7e-e6da289e7b4f" providerId="ADAL" clId="{4E2D14C3-4C81-4449-96AF-2D365022FBEF}" dt="2021-01-05T15:18:02.973" v="3607" actId="478"/>
          <ac:spMkLst>
            <pc:docMk/>
            <pc:sldMk cId="461259891" sldId="2612"/>
            <ac:spMk id="50" creationId="{CD4DC9E2-0338-4FAA-97A7-D7F4EED9D0AD}"/>
          </ac:spMkLst>
        </pc:spChg>
        <pc:spChg chg="add del mod">
          <ac:chgData name="Tereza Mendes" userId="bb2291e0-f53c-426c-bc7e-e6da289e7b4f" providerId="ADAL" clId="{4E2D14C3-4C81-4449-96AF-2D365022FBEF}" dt="2020-12-22T19:56:32.048" v="2445" actId="478"/>
          <ac:spMkLst>
            <pc:docMk/>
            <pc:sldMk cId="461259891" sldId="2612"/>
            <ac:spMk id="52" creationId="{08779347-FE07-40E0-9322-89F0C01C8AAD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52" creationId="{18B1DD97-C228-4F5D-AD48-55E6E67CE695}"/>
          </ac:spMkLst>
        </pc:spChg>
        <pc:spChg chg="add mod">
          <ac:chgData name="Tereza Mendes" userId="bb2291e0-f53c-426c-bc7e-e6da289e7b4f" providerId="ADAL" clId="{4E2D14C3-4C81-4449-96AF-2D365022FBEF}" dt="2020-12-22T20:37:54.869" v="2745" actId="1076"/>
          <ac:spMkLst>
            <pc:docMk/>
            <pc:sldMk cId="461259891" sldId="2612"/>
            <ac:spMk id="53" creationId="{C73E747A-1880-440F-AE49-6908ACF21150}"/>
          </ac:spMkLst>
        </pc:spChg>
        <pc:spChg chg="mod">
          <ac:chgData name="Tereza Mendes" userId="bb2291e0-f53c-426c-bc7e-e6da289e7b4f" providerId="ADAL" clId="{4E2D14C3-4C81-4449-96AF-2D365022FBEF}" dt="2020-12-22T19:24:31.556" v="1912" actId="1037"/>
          <ac:spMkLst>
            <pc:docMk/>
            <pc:sldMk cId="461259891" sldId="2612"/>
            <ac:spMk id="54" creationId="{7E4D99E5-39B1-40C8-A4A9-4FECAE45CD77}"/>
          </ac:spMkLst>
        </pc:spChg>
        <pc:spChg chg="add mod">
          <ac:chgData name="Tereza Mendes" userId="bb2291e0-f53c-426c-bc7e-e6da289e7b4f" providerId="ADAL" clId="{4E2D14C3-4C81-4449-96AF-2D365022FBEF}" dt="2021-01-06T14:19:17.844" v="6782" actId="1038"/>
          <ac:spMkLst>
            <pc:docMk/>
            <pc:sldMk cId="461259891" sldId="2612"/>
            <ac:spMk id="56" creationId="{0937C99F-7087-4FB0-98D0-DB2D96F1FEDC}"/>
          </ac:spMkLst>
        </pc:spChg>
        <pc:spChg chg="add mod">
          <ac:chgData name="Tereza Mendes" userId="bb2291e0-f53c-426c-bc7e-e6da289e7b4f" providerId="ADAL" clId="{4E2D14C3-4C81-4449-96AF-2D365022FBEF}" dt="2021-01-06T15:05:32.441" v="7159" actId="20577"/>
          <ac:spMkLst>
            <pc:docMk/>
            <pc:sldMk cId="461259891" sldId="2612"/>
            <ac:spMk id="57" creationId="{607DFE4D-0CF2-4D5C-B238-F45ED141D961}"/>
          </ac:spMkLst>
        </pc:spChg>
        <pc:spChg chg="add del mod">
          <ac:chgData name="Tereza Mendes" userId="bb2291e0-f53c-426c-bc7e-e6da289e7b4f" providerId="ADAL" clId="{4E2D14C3-4C81-4449-96AF-2D365022FBEF}" dt="2020-12-22T20:35:54.167" v="2647" actId="478"/>
          <ac:spMkLst>
            <pc:docMk/>
            <pc:sldMk cId="461259891" sldId="2612"/>
            <ac:spMk id="58" creationId="{56D10EEA-5355-4A9F-B70E-DDFCE6658C2C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58" creationId="{D89A024D-EB27-43C3-9B5C-CF980CDAD9F3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59" creationId="{B4A8D996-6E2A-498F-A334-F7870B54CBA6}"/>
          </ac:spMkLst>
        </pc:spChg>
        <pc:spChg chg="add del mod">
          <ac:chgData name="Tereza Mendes" userId="bb2291e0-f53c-426c-bc7e-e6da289e7b4f" providerId="ADAL" clId="{4E2D14C3-4C81-4449-96AF-2D365022FBEF}" dt="2021-01-05T22:40:39.525" v="6346" actId="478"/>
          <ac:spMkLst>
            <pc:docMk/>
            <pc:sldMk cId="461259891" sldId="2612"/>
            <ac:spMk id="60" creationId="{07CAA3B6-63D9-42AF-9E6A-3A87BBBD54B9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61" creationId="{3D89A1D6-CABB-440F-B1DA-ECAE83B93D8C}"/>
          </ac:spMkLst>
        </pc:spChg>
        <pc:spChg chg="add del mod">
          <ac:chgData name="Tereza Mendes" userId="bb2291e0-f53c-426c-bc7e-e6da289e7b4f" providerId="ADAL" clId="{4E2D14C3-4C81-4449-96AF-2D365022FBEF}" dt="2020-12-22T20:38:58.956" v="2754" actId="478"/>
          <ac:spMkLst>
            <pc:docMk/>
            <pc:sldMk cId="461259891" sldId="2612"/>
            <ac:spMk id="61" creationId="{76075B99-8B70-42A5-A937-BAB916A28390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62" creationId="{9F024F55-EBE6-43C8-AA6A-D9277355FB2D}"/>
          </ac:spMkLst>
        </pc:spChg>
        <pc:spChg chg="add del mod">
          <ac:chgData name="Tereza Mendes" userId="bb2291e0-f53c-426c-bc7e-e6da289e7b4f" providerId="ADAL" clId="{4E2D14C3-4C81-4449-96AF-2D365022FBEF}" dt="2021-01-05T15:16:33.439" v="3475" actId="478"/>
          <ac:spMkLst>
            <pc:docMk/>
            <pc:sldMk cId="461259891" sldId="2612"/>
            <ac:spMk id="63" creationId="{3D568E70-AD66-4D1C-8A76-6713DEAF053B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78" creationId="{60CCE79B-3A4B-44A9-A098-BD3E3FA04CE1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79" creationId="{58B64FCE-E0C5-4D2C-A4C3-1704883E9C63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80" creationId="{58888A0B-333F-4FA7-B6A8-03B89E12595C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81" creationId="{E4ABE86E-5A00-4275-9221-BF9512076BB6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82" creationId="{C4B648BE-4200-452E-8602-049EC3E20AF4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84" creationId="{35CD60A2-9CB3-4C9B-99AA-68023EC0F806}"/>
          </ac:spMkLst>
        </pc:spChg>
        <pc:spChg chg="add">
          <ac:chgData name="Tereza Mendes" userId="bb2291e0-f53c-426c-bc7e-e6da289e7b4f" providerId="ADAL" clId="{4E2D14C3-4C81-4449-96AF-2D365022FBEF}" dt="2021-01-05T22:40:39.890" v="6347"/>
          <ac:spMkLst>
            <pc:docMk/>
            <pc:sldMk cId="461259891" sldId="2612"/>
            <ac:spMk id="85" creationId="{89A09CA0-0F82-48FF-922C-240FCDB8F67E}"/>
          </ac:spMkLst>
        </pc:spChg>
        <pc:spChg chg="del">
          <ac:chgData name="Tereza Mendes" userId="bb2291e0-f53c-426c-bc7e-e6da289e7b4f" providerId="ADAL" clId="{4E2D14C3-4C81-4449-96AF-2D365022FBEF}" dt="2020-12-22T19:29:18.181" v="2055" actId="478"/>
          <ac:spMkLst>
            <pc:docMk/>
            <pc:sldMk cId="461259891" sldId="2612"/>
            <ac:spMk id="110" creationId="{FCEA9A72-FF0B-405B-B559-12CD5440F803}"/>
          </ac:spMkLst>
        </pc:spChg>
        <pc:grpChg chg="add del mod">
          <ac:chgData name="Tereza Mendes" userId="bb2291e0-f53c-426c-bc7e-e6da289e7b4f" providerId="ADAL" clId="{4E2D14C3-4C81-4449-96AF-2D365022FBEF}" dt="2020-12-22T19:53:12.804" v="2359" actId="478"/>
          <ac:grpSpMkLst>
            <pc:docMk/>
            <pc:sldMk cId="461259891" sldId="2612"/>
            <ac:grpSpMk id="27" creationId="{080BDCA5-1BFB-4AAF-A305-6972444D6304}"/>
          </ac:grpSpMkLst>
        </pc:grpChg>
        <pc:grpChg chg="add del mod">
          <ac:chgData name="Tereza Mendes" userId="bb2291e0-f53c-426c-bc7e-e6da289e7b4f" providerId="ADAL" clId="{4E2D14C3-4C81-4449-96AF-2D365022FBEF}" dt="2020-12-22T19:53:12.804" v="2359" actId="478"/>
          <ac:grpSpMkLst>
            <pc:docMk/>
            <pc:sldMk cId="461259891" sldId="2612"/>
            <ac:grpSpMk id="32" creationId="{4EE507C7-E9D7-4E30-80B7-7CB0B907B6A0}"/>
          </ac:grpSpMkLst>
        </pc:grpChg>
        <pc:graphicFrameChg chg="add del mod">
          <ac:chgData name="Tereza Mendes" userId="bb2291e0-f53c-426c-bc7e-e6da289e7b4f" providerId="ADAL" clId="{4E2D14C3-4C81-4449-96AF-2D365022FBEF}" dt="2020-12-22T18:21:44.960" v="805" actId="478"/>
          <ac:graphicFrameMkLst>
            <pc:docMk/>
            <pc:sldMk cId="461259891" sldId="2612"/>
            <ac:graphicFrameMk id="16" creationId="{603E43C3-0A68-48E7-BC0E-A3AFF01A52EA}"/>
          </ac:graphicFrameMkLst>
        </pc:graphicFrameChg>
        <pc:graphicFrameChg chg="add del mod modGraphic">
          <ac:chgData name="Tereza Mendes" userId="bb2291e0-f53c-426c-bc7e-e6da289e7b4f" providerId="ADAL" clId="{4E2D14C3-4C81-4449-96AF-2D365022FBEF}" dt="2020-12-22T19:20:06.866" v="1541" actId="478"/>
          <ac:graphicFrameMkLst>
            <pc:docMk/>
            <pc:sldMk cId="461259891" sldId="2612"/>
            <ac:graphicFrameMk id="25" creationId="{41728159-29B5-4AD9-A13D-C32EB8C0A988}"/>
          </ac:graphicFrameMkLst>
        </pc:graphicFrameChg>
        <pc:graphicFrameChg chg="mod modGraphic">
          <ac:chgData name="Tereza Mendes" userId="bb2291e0-f53c-426c-bc7e-e6da289e7b4f" providerId="ADAL" clId="{4E2D14C3-4C81-4449-96AF-2D365022FBEF}" dt="2021-01-05T16:58:02.815" v="4066" actId="403"/>
          <ac:graphicFrameMkLst>
            <pc:docMk/>
            <pc:sldMk cId="461259891" sldId="2612"/>
            <ac:graphicFrameMk id="51" creationId="{73AF6B9E-17FF-4363-BDE7-369DD67BBDFE}"/>
          </ac:graphicFrameMkLst>
        </pc:graphicFrame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67" creationId="{BB230829-8EC9-4E6A-9AB6-D2EF0F613724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68" creationId="{C0F0AC14-1BE8-4195-88AA-062548D3E5D6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69" creationId="{ACA03111-526A-41F7-B558-7FE2B823F65B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0" creationId="{C3ABD472-1052-43E5-8139-89BC2BF6532E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1" creationId="{3A5C25D0-68DC-4826-B983-EE907FBA732D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2" creationId="{C3A79FE4-7395-4FB2-A1FC-1218496D41E9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3" creationId="{E848914A-F7CF-4428-9F1A-63267D9CD1A7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4" creationId="{670366BE-FA54-4CB6-A946-4EAC2AAE9F98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5" creationId="{35DB7D6B-684D-4841-A760-1FCA911AADC1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6" creationId="{61E37AE4-9BB5-42B0-9671-260848266C57}"/>
          </ac:picMkLst>
        </pc:picChg>
        <pc:picChg chg="add del mod">
          <ac:chgData name="Tereza Mendes" userId="bb2291e0-f53c-426c-bc7e-e6da289e7b4f" providerId="ADAL" clId="{4E2D14C3-4C81-4449-96AF-2D365022FBEF}" dt="2021-01-05T15:16:33.439" v="3475" actId="478"/>
          <ac:picMkLst>
            <pc:docMk/>
            <pc:sldMk cId="461259891" sldId="2612"/>
            <ac:picMk id="77" creationId="{07DD2F8C-AE0B-4E31-9D71-F1B7DA68BD6F}"/>
          </ac:picMkLst>
        </pc:picChg>
        <pc:cxnChg chg="add del mod">
          <ac:chgData name="Tereza Mendes" userId="bb2291e0-f53c-426c-bc7e-e6da289e7b4f" providerId="ADAL" clId="{4E2D14C3-4C81-4449-96AF-2D365022FBEF}" dt="2021-01-05T22:40:39.525" v="6346" actId="478"/>
          <ac:cxnSpMkLst>
            <pc:docMk/>
            <pc:sldMk cId="461259891" sldId="2612"/>
            <ac:cxnSpMk id="55" creationId="{705FD41C-8D3A-4C0B-B0B4-7E537F6EDB21}"/>
          </ac:cxnSpMkLst>
        </pc:cxnChg>
        <pc:cxnChg chg="add del mod">
          <ac:chgData name="Tereza Mendes" userId="bb2291e0-f53c-426c-bc7e-e6da289e7b4f" providerId="ADAL" clId="{4E2D14C3-4C81-4449-96AF-2D365022FBEF}" dt="2021-01-05T15:16:33.439" v="3475" actId="478"/>
          <ac:cxnSpMkLst>
            <pc:docMk/>
            <pc:sldMk cId="461259891" sldId="2612"/>
            <ac:cxnSpMk id="64" creationId="{E97D143A-D1AB-4905-960F-E6A26781B476}"/>
          </ac:cxnSpMkLst>
        </pc:cxnChg>
        <pc:cxnChg chg="add del mod">
          <ac:chgData name="Tereza Mendes" userId="bb2291e0-f53c-426c-bc7e-e6da289e7b4f" providerId="ADAL" clId="{4E2D14C3-4C81-4449-96AF-2D365022FBEF}" dt="2021-01-05T15:16:33.439" v="3475" actId="478"/>
          <ac:cxnSpMkLst>
            <pc:docMk/>
            <pc:sldMk cId="461259891" sldId="2612"/>
            <ac:cxnSpMk id="65" creationId="{A1B0A369-A22F-4EAB-B855-C5C95A682758}"/>
          </ac:cxnSpMkLst>
        </pc:cxnChg>
        <pc:cxnChg chg="add del mod">
          <ac:chgData name="Tereza Mendes" userId="bb2291e0-f53c-426c-bc7e-e6da289e7b4f" providerId="ADAL" clId="{4E2D14C3-4C81-4449-96AF-2D365022FBEF}" dt="2021-01-05T15:16:33.439" v="3475" actId="478"/>
          <ac:cxnSpMkLst>
            <pc:docMk/>
            <pc:sldMk cId="461259891" sldId="2612"/>
            <ac:cxnSpMk id="66" creationId="{E061F66E-B07E-40E6-B525-17FAB09F1598}"/>
          </ac:cxnSpMkLst>
        </pc:cxnChg>
        <pc:cxnChg chg="add">
          <ac:chgData name="Tereza Mendes" userId="bb2291e0-f53c-426c-bc7e-e6da289e7b4f" providerId="ADAL" clId="{4E2D14C3-4C81-4449-96AF-2D365022FBEF}" dt="2021-01-05T22:40:39.890" v="6347"/>
          <ac:cxnSpMkLst>
            <pc:docMk/>
            <pc:sldMk cId="461259891" sldId="2612"/>
            <ac:cxnSpMk id="83" creationId="{623D966A-8152-49B0-8653-8E67E42228FD}"/>
          </ac:cxnSpMkLst>
        </pc:cxnChg>
      </pc:sldChg>
      <pc:sldChg chg="ord modTransition">
        <pc:chgData name="Tereza Mendes" userId="bb2291e0-f53c-426c-bc7e-e6da289e7b4f" providerId="ADAL" clId="{4E2D14C3-4C81-4449-96AF-2D365022FBEF}" dt="2021-01-06T20:15:48.472" v="10348"/>
        <pc:sldMkLst>
          <pc:docMk/>
          <pc:sldMk cId="1666035249" sldId="8641"/>
        </pc:sldMkLst>
      </pc:sldChg>
      <pc:sldChg chg="ord modTransition">
        <pc:chgData name="Tereza Mendes" userId="bb2291e0-f53c-426c-bc7e-e6da289e7b4f" providerId="ADAL" clId="{4E2D14C3-4C81-4449-96AF-2D365022FBEF}" dt="2021-01-05T17:22:56.638" v="4328"/>
        <pc:sldMkLst>
          <pc:docMk/>
          <pc:sldMk cId="1822077781" sldId="8804"/>
        </pc:sldMkLst>
      </pc:sldChg>
      <pc:sldChg chg="del modTransition">
        <pc:chgData name="Tereza Mendes" userId="bb2291e0-f53c-426c-bc7e-e6da289e7b4f" providerId="ADAL" clId="{4E2D14C3-4C81-4449-96AF-2D365022FBEF}" dt="2021-01-05T17:22:47.002" v="4325" actId="2696"/>
        <pc:sldMkLst>
          <pc:docMk/>
          <pc:sldMk cId="1922217031" sldId="8805"/>
        </pc:sldMkLst>
      </pc:sldChg>
      <pc:sldChg chg="addSp delSp modSp ord modTransition">
        <pc:chgData name="Tereza Mendes" userId="bb2291e0-f53c-426c-bc7e-e6da289e7b4f" providerId="ADAL" clId="{4E2D14C3-4C81-4449-96AF-2D365022FBEF}" dt="2021-01-05T22:36:22.492" v="6280"/>
        <pc:sldMkLst>
          <pc:docMk/>
          <pc:sldMk cId="1009807059" sldId="8806"/>
        </pc:sldMkLst>
        <pc:spChg chg="mod">
          <ac:chgData name="Tereza Mendes" userId="bb2291e0-f53c-426c-bc7e-e6da289e7b4f" providerId="ADAL" clId="{4E2D14C3-4C81-4449-96AF-2D365022FBEF}" dt="2021-01-05T12:19:54.866" v="2951" actId="1076"/>
          <ac:spMkLst>
            <pc:docMk/>
            <pc:sldMk cId="1009807059" sldId="8806"/>
            <ac:spMk id="4" creationId="{10E08392-B17D-4AFD-AA06-F4B2F5308414}"/>
          </ac:spMkLst>
        </pc:spChg>
        <pc:spChg chg="mod">
          <ac:chgData name="Tereza Mendes" userId="bb2291e0-f53c-426c-bc7e-e6da289e7b4f" providerId="ADAL" clId="{4E2D14C3-4C81-4449-96AF-2D365022FBEF}" dt="2020-12-22T18:15:41.524" v="749" actId="207"/>
          <ac:spMkLst>
            <pc:docMk/>
            <pc:sldMk cId="1009807059" sldId="8806"/>
            <ac:spMk id="6" creationId="{4F6C1AC9-98C7-44CE-A9B2-BCEE9C4A44D3}"/>
          </ac:spMkLst>
        </pc:spChg>
        <pc:spChg chg="mod">
          <ac:chgData name="Tereza Mendes" userId="bb2291e0-f53c-426c-bc7e-e6da289e7b4f" providerId="ADAL" clId="{4E2D14C3-4C81-4449-96AF-2D365022FBEF}" dt="2021-01-05T22:31:19.774" v="5972" actId="1036"/>
          <ac:spMkLst>
            <pc:docMk/>
            <pc:sldMk cId="1009807059" sldId="8806"/>
            <ac:spMk id="9" creationId="{B18420D9-4D8B-4FF7-BDD1-0CF69F57DE81}"/>
          </ac:spMkLst>
        </pc:spChg>
        <pc:spChg chg="mod">
          <ac:chgData name="Tereza Mendes" userId="bb2291e0-f53c-426c-bc7e-e6da289e7b4f" providerId="ADAL" clId="{4E2D14C3-4C81-4449-96AF-2D365022FBEF}" dt="2021-01-05T15:03:56.461" v="3154" actId="1035"/>
          <ac:spMkLst>
            <pc:docMk/>
            <pc:sldMk cId="1009807059" sldId="8806"/>
            <ac:spMk id="12" creationId="{1B6A6D0B-0DC8-4145-80A2-8EE50B778E69}"/>
          </ac:spMkLst>
        </pc:spChg>
        <pc:spChg chg="mod">
          <ac:chgData name="Tereza Mendes" userId="bb2291e0-f53c-426c-bc7e-e6da289e7b4f" providerId="ADAL" clId="{4E2D14C3-4C81-4449-96AF-2D365022FBEF}" dt="2021-01-05T15:04:02.574" v="3160" actId="1036"/>
          <ac:spMkLst>
            <pc:docMk/>
            <pc:sldMk cId="1009807059" sldId="8806"/>
            <ac:spMk id="13" creationId="{CD6BF0FD-5CEA-4726-A058-0AE46288837B}"/>
          </ac:spMkLst>
        </pc:spChg>
        <pc:spChg chg="mod">
          <ac:chgData name="Tereza Mendes" userId="bb2291e0-f53c-426c-bc7e-e6da289e7b4f" providerId="ADAL" clId="{4E2D14C3-4C81-4449-96AF-2D365022FBEF}" dt="2021-01-05T11:49:16.405" v="2829" actId="1036"/>
          <ac:spMkLst>
            <pc:docMk/>
            <pc:sldMk cId="1009807059" sldId="8806"/>
            <ac:spMk id="21" creationId="{483B693C-D8D0-4527-95B2-9B339E3FC4B4}"/>
          </ac:spMkLst>
        </pc:spChg>
        <pc:spChg chg="del">
          <ac:chgData name="Tereza Mendes" userId="bb2291e0-f53c-426c-bc7e-e6da289e7b4f" providerId="ADAL" clId="{4E2D14C3-4C81-4449-96AF-2D365022FBEF}" dt="2020-12-22T18:12:27.439" v="701" actId="478"/>
          <ac:spMkLst>
            <pc:docMk/>
            <pc:sldMk cId="1009807059" sldId="8806"/>
            <ac:spMk id="30" creationId="{D8D5A477-74FA-430C-BD91-80427500892C}"/>
          </ac:spMkLst>
        </pc:spChg>
        <pc:spChg chg="mod">
          <ac:chgData name="Tereza Mendes" userId="bb2291e0-f53c-426c-bc7e-e6da289e7b4f" providerId="ADAL" clId="{4E2D14C3-4C81-4449-96AF-2D365022FBEF}" dt="2021-01-05T22:31:19.774" v="5972" actId="1036"/>
          <ac:spMkLst>
            <pc:docMk/>
            <pc:sldMk cId="1009807059" sldId="8806"/>
            <ac:spMk id="45" creationId="{17235E70-09A4-446B-853F-EDDDB89804B0}"/>
          </ac:spMkLst>
        </pc:spChg>
        <pc:spChg chg="mod">
          <ac:chgData name="Tereza Mendes" userId="bb2291e0-f53c-426c-bc7e-e6da289e7b4f" providerId="ADAL" clId="{4E2D14C3-4C81-4449-96AF-2D365022FBEF}" dt="2021-01-05T22:31:19.774" v="5972" actId="1036"/>
          <ac:spMkLst>
            <pc:docMk/>
            <pc:sldMk cId="1009807059" sldId="8806"/>
            <ac:spMk id="46" creationId="{32D4E718-DC2E-4B27-AD40-F485566B306E}"/>
          </ac:spMkLst>
        </pc:spChg>
        <pc:spChg chg="mod">
          <ac:chgData name="Tereza Mendes" userId="bb2291e0-f53c-426c-bc7e-e6da289e7b4f" providerId="ADAL" clId="{4E2D14C3-4C81-4449-96AF-2D365022FBEF}" dt="2021-01-05T22:26:02.151" v="5962" actId="207"/>
          <ac:spMkLst>
            <pc:docMk/>
            <pc:sldMk cId="1009807059" sldId="8806"/>
            <ac:spMk id="47" creationId="{936A455C-8D05-4BEB-A6AF-F034012B7911}"/>
          </ac:spMkLst>
        </pc:spChg>
        <pc:spChg chg="mod">
          <ac:chgData name="Tereza Mendes" userId="bb2291e0-f53c-426c-bc7e-e6da289e7b4f" providerId="ADAL" clId="{4E2D14C3-4C81-4449-96AF-2D365022FBEF}" dt="2021-01-05T22:26:02.151" v="5962" actId="207"/>
          <ac:spMkLst>
            <pc:docMk/>
            <pc:sldMk cId="1009807059" sldId="8806"/>
            <ac:spMk id="48" creationId="{D7284F33-EA6D-4435-82F2-9358950EAAE1}"/>
          </ac:spMkLst>
        </pc:spChg>
        <pc:spChg chg="mod">
          <ac:chgData name="Tereza Mendes" userId="bb2291e0-f53c-426c-bc7e-e6da289e7b4f" providerId="ADAL" clId="{4E2D14C3-4C81-4449-96AF-2D365022FBEF}" dt="2021-01-05T22:28:31.044" v="5963" actId="1036"/>
          <ac:spMkLst>
            <pc:docMk/>
            <pc:sldMk cId="1009807059" sldId="8806"/>
            <ac:spMk id="49" creationId="{B9A077D0-4CEE-4C33-8AD7-8F52C68756E4}"/>
          </ac:spMkLst>
        </pc:spChg>
        <pc:spChg chg="mod">
          <ac:chgData name="Tereza Mendes" userId="bb2291e0-f53c-426c-bc7e-e6da289e7b4f" providerId="ADAL" clId="{4E2D14C3-4C81-4449-96AF-2D365022FBEF}" dt="2020-12-22T18:15:49.130" v="750" actId="207"/>
          <ac:spMkLst>
            <pc:docMk/>
            <pc:sldMk cId="1009807059" sldId="8806"/>
            <ac:spMk id="50" creationId="{B095B194-3B44-4A5C-99F8-69D054A7F052}"/>
          </ac:spMkLst>
        </pc:spChg>
        <pc:spChg chg="mod">
          <ac:chgData name="Tereza Mendes" userId="bb2291e0-f53c-426c-bc7e-e6da289e7b4f" providerId="ADAL" clId="{4E2D14C3-4C81-4449-96AF-2D365022FBEF}" dt="2021-01-05T22:26:02.151" v="5962" actId="207"/>
          <ac:spMkLst>
            <pc:docMk/>
            <pc:sldMk cId="1009807059" sldId="8806"/>
            <ac:spMk id="51" creationId="{05B73E95-7454-4CB8-8028-4A2077CC7D72}"/>
          </ac:spMkLst>
        </pc:spChg>
        <pc:spChg chg="mod">
          <ac:chgData name="Tereza Mendes" userId="bb2291e0-f53c-426c-bc7e-e6da289e7b4f" providerId="ADAL" clId="{4E2D14C3-4C81-4449-96AF-2D365022FBEF}" dt="2021-01-05T22:26:02.151" v="5962" actId="207"/>
          <ac:spMkLst>
            <pc:docMk/>
            <pc:sldMk cId="1009807059" sldId="8806"/>
            <ac:spMk id="52" creationId="{901F6FC1-CBAB-4F7F-B576-815226B67546}"/>
          </ac:spMkLst>
        </pc:spChg>
        <pc:spChg chg="mod">
          <ac:chgData name="Tereza Mendes" userId="bb2291e0-f53c-426c-bc7e-e6da289e7b4f" providerId="ADAL" clId="{4E2D14C3-4C81-4449-96AF-2D365022FBEF}" dt="2020-12-22T18:16:30.896" v="757" actId="1037"/>
          <ac:spMkLst>
            <pc:docMk/>
            <pc:sldMk cId="1009807059" sldId="8806"/>
            <ac:spMk id="53" creationId="{BA472FBE-E92C-4D4C-B665-9ECFAF8F5437}"/>
          </ac:spMkLst>
        </pc:spChg>
        <pc:spChg chg="mod">
          <ac:chgData name="Tereza Mendes" userId="bb2291e0-f53c-426c-bc7e-e6da289e7b4f" providerId="ADAL" clId="{4E2D14C3-4C81-4449-96AF-2D365022FBEF}" dt="2021-01-05T11:49:19.025" v="2831" actId="1036"/>
          <ac:spMkLst>
            <pc:docMk/>
            <pc:sldMk cId="1009807059" sldId="8806"/>
            <ac:spMk id="54" creationId="{E8CCE990-9D82-4785-8DFC-D81C194EF658}"/>
          </ac:spMkLst>
        </pc:spChg>
        <pc:spChg chg="mod">
          <ac:chgData name="Tereza Mendes" userId="bb2291e0-f53c-426c-bc7e-e6da289e7b4f" providerId="ADAL" clId="{4E2D14C3-4C81-4449-96AF-2D365022FBEF}" dt="2021-01-05T22:30:44.444" v="5971" actId="20577"/>
          <ac:spMkLst>
            <pc:docMk/>
            <pc:sldMk cId="1009807059" sldId="8806"/>
            <ac:spMk id="55" creationId="{52CFAC0B-C4AB-400C-9AB7-D7CEF3655112}"/>
          </ac:spMkLst>
        </pc:spChg>
        <pc:spChg chg="del topLvl">
          <ac:chgData name="Tereza Mendes" userId="bb2291e0-f53c-426c-bc7e-e6da289e7b4f" providerId="ADAL" clId="{4E2D14C3-4C81-4449-96AF-2D365022FBEF}" dt="2020-12-22T19:30:09.712" v="2087" actId="478"/>
          <ac:spMkLst>
            <pc:docMk/>
            <pc:sldMk cId="1009807059" sldId="8806"/>
            <ac:spMk id="57" creationId="{7E1B360E-6994-4924-ADC0-60698AFAA44F}"/>
          </ac:spMkLst>
        </pc:spChg>
        <pc:spChg chg="mod topLvl">
          <ac:chgData name="Tereza Mendes" userId="bb2291e0-f53c-426c-bc7e-e6da289e7b4f" providerId="ADAL" clId="{4E2D14C3-4C81-4449-96AF-2D365022FBEF}" dt="2020-12-22T19:37:52.972" v="2218" actId="1038"/>
          <ac:spMkLst>
            <pc:docMk/>
            <pc:sldMk cId="1009807059" sldId="8806"/>
            <ac:spMk id="59" creationId="{5FAA9B5E-5BC5-450C-9FE2-C5C73C99FB00}"/>
          </ac:spMkLst>
        </pc:spChg>
        <pc:spChg chg="del topLvl">
          <ac:chgData name="Tereza Mendes" userId="bb2291e0-f53c-426c-bc7e-e6da289e7b4f" providerId="ADAL" clId="{4E2D14C3-4C81-4449-96AF-2D365022FBEF}" dt="2020-12-22T19:30:25.701" v="2092" actId="478"/>
          <ac:spMkLst>
            <pc:docMk/>
            <pc:sldMk cId="1009807059" sldId="8806"/>
            <ac:spMk id="65" creationId="{25A8A751-99F3-4C62-B68F-31B7991C02F3}"/>
          </ac:spMkLst>
        </pc:spChg>
        <pc:spChg chg="add mod">
          <ac:chgData name="Tereza Mendes" userId="bb2291e0-f53c-426c-bc7e-e6da289e7b4f" providerId="ADAL" clId="{4E2D14C3-4C81-4449-96AF-2D365022FBEF}" dt="2021-01-05T15:15:41.385" v="3463" actId="1036"/>
          <ac:spMkLst>
            <pc:docMk/>
            <pc:sldMk cId="1009807059" sldId="8806"/>
            <ac:spMk id="65" creationId="{9B59A684-7C71-4B26-8F54-8F5F0CEE7B36}"/>
          </ac:spMkLst>
        </pc:spChg>
        <pc:spChg chg="mod topLvl">
          <ac:chgData name="Tereza Mendes" userId="bb2291e0-f53c-426c-bc7e-e6da289e7b4f" providerId="ADAL" clId="{4E2D14C3-4C81-4449-96AF-2D365022FBEF}" dt="2020-12-22T19:38:00.512" v="2230" actId="1037"/>
          <ac:spMkLst>
            <pc:docMk/>
            <pc:sldMk cId="1009807059" sldId="8806"/>
            <ac:spMk id="66" creationId="{46CEDF37-3084-4DCE-B06F-58C3B59DC869}"/>
          </ac:spMkLst>
        </pc:spChg>
        <pc:spChg chg="mod">
          <ac:chgData name="Tereza Mendes" userId="bb2291e0-f53c-426c-bc7e-e6da289e7b4f" providerId="ADAL" clId="{4E2D14C3-4C81-4449-96AF-2D365022FBEF}" dt="2021-01-05T15:03:56.461" v="3154" actId="1035"/>
          <ac:spMkLst>
            <pc:docMk/>
            <pc:sldMk cId="1009807059" sldId="8806"/>
            <ac:spMk id="79" creationId="{A22CA035-20C0-4E2F-A559-24EE4B21A205}"/>
          </ac:spMkLst>
        </pc:spChg>
        <pc:spChg chg="mod">
          <ac:chgData name="Tereza Mendes" userId="bb2291e0-f53c-426c-bc7e-e6da289e7b4f" providerId="ADAL" clId="{4E2D14C3-4C81-4449-96AF-2D365022FBEF}" dt="2021-01-05T15:03:56.461" v="3154" actId="1035"/>
          <ac:spMkLst>
            <pc:docMk/>
            <pc:sldMk cId="1009807059" sldId="8806"/>
            <ac:spMk id="80" creationId="{93B93C30-F7D5-4161-A62F-599AB2E53613}"/>
          </ac:spMkLst>
        </pc:spChg>
        <pc:spChg chg="mod">
          <ac:chgData name="Tereza Mendes" userId="bb2291e0-f53c-426c-bc7e-e6da289e7b4f" providerId="ADAL" clId="{4E2D14C3-4C81-4449-96AF-2D365022FBEF}" dt="2020-12-22T18:01:04.681" v="641" actId="20577"/>
          <ac:spMkLst>
            <pc:docMk/>
            <pc:sldMk cId="1009807059" sldId="8806"/>
            <ac:spMk id="82" creationId="{12C0A543-43FD-4EF9-9FC5-82845A37A13A}"/>
          </ac:spMkLst>
        </pc:spChg>
        <pc:spChg chg="add del mod">
          <ac:chgData name="Tereza Mendes" userId="bb2291e0-f53c-426c-bc7e-e6da289e7b4f" providerId="ADAL" clId="{4E2D14C3-4C81-4449-96AF-2D365022FBEF}" dt="2020-12-22T18:09:51.366" v="676" actId="478"/>
          <ac:spMkLst>
            <pc:docMk/>
            <pc:sldMk cId="1009807059" sldId="8806"/>
            <ac:spMk id="83" creationId="{0B3C9A5D-B9DF-45E0-918A-7F53374F635A}"/>
          </ac:spMkLst>
        </pc:spChg>
        <pc:spChg chg="add mod">
          <ac:chgData name="Tereza Mendes" userId="bb2291e0-f53c-426c-bc7e-e6da289e7b4f" providerId="ADAL" clId="{4E2D14C3-4C81-4449-96AF-2D365022FBEF}" dt="2021-01-05T15:16:58.813" v="3517" actId="20577"/>
          <ac:spMkLst>
            <pc:docMk/>
            <pc:sldMk cId="1009807059" sldId="8806"/>
            <ac:spMk id="83" creationId="{276AB341-3062-44C0-A4D9-7F16791ED64F}"/>
          </ac:spMkLst>
        </pc:spChg>
        <pc:spChg chg="add del">
          <ac:chgData name="Tereza Mendes" userId="bb2291e0-f53c-426c-bc7e-e6da289e7b4f" providerId="ADAL" clId="{4E2D14C3-4C81-4449-96AF-2D365022FBEF}" dt="2020-12-22T18:11:42.407" v="678" actId="478"/>
          <ac:spMkLst>
            <pc:docMk/>
            <pc:sldMk cId="1009807059" sldId="8806"/>
            <ac:spMk id="84" creationId="{9249C0AA-59CD-4F6D-8535-8EC70506A797}"/>
          </ac:spMkLst>
        </pc:spChg>
        <pc:spChg chg="add mod">
          <ac:chgData name="Tereza Mendes" userId="bb2291e0-f53c-426c-bc7e-e6da289e7b4f" providerId="ADAL" clId="{4E2D14C3-4C81-4449-96AF-2D365022FBEF}" dt="2020-12-22T18:16:11.985" v="756" actId="1035"/>
          <ac:spMkLst>
            <pc:docMk/>
            <pc:sldMk cId="1009807059" sldId="8806"/>
            <ac:spMk id="85" creationId="{7163B114-4BBA-470B-8469-D701538ED2D0}"/>
          </ac:spMkLst>
        </pc:spChg>
        <pc:spChg chg="add mod ord">
          <ac:chgData name="Tereza Mendes" userId="bb2291e0-f53c-426c-bc7e-e6da289e7b4f" providerId="ADAL" clId="{4E2D14C3-4C81-4449-96AF-2D365022FBEF}" dt="2020-12-22T20:44:16.804" v="2823" actId="207"/>
          <ac:spMkLst>
            <pc:docMk/>
            <pc:sldMk cId="1009807059" sldId="8806"/>
            <ac:spMk id="86" creationId="{F6CF2ACB-21DB-4418-980D-863968A69D98}"/>
          </ac:spMkLst>
        </pc:spChg>
        <pc:spChg chg="add mod ord">
          <ac:chgData name="Tereza Mendes" userId="bb2291e0-f53c-426c-bc7e-e6da289e7b4f" providerId="ADAL" clId="{4E2D14C3-4C81-4449-96AF-2D365022FBEF}" dt="2020-12-22T18:15:57.539" v="752" actId="1037"/>
          <ac:spMkLst>
            <pc:docMk/>
            <pc:sldMk cId="1009807059" sldId="8806"/>
            <ac:spMk id="87" creationId="{1F255F0D-24A2-4E07-BD61-14269CE840CA}"/>
          </ac:spMkLst>
        </pc:spChg>
        <pc:spChg chg="add mod">
          <ac:chgData name="Tereza Mendes" userId="bb2291e0-f53c-426c-bc7e-e6da289e7b4f" providerId="ADAL" clId="{4E2D14C3-4C81-4449-96AF-2D365022FBEF}" dt="2020-12-22T19:30:03.884" v="2086" actId="1035"/>
          <ac:spMkLst>
            <pc:docMk/>
            <pc:sldMk cId="1009807059" sldId="8806"/>
            <ac:spMk id="88" creationId="{2108B671-A950-4A2C-84BE-2D566FA39CC5}"/>
          </ac:spMkLst>
        </pc:spChg>
        <pc:spChg chg="add mod">
          <ac:chgData name="Tereza Mendes" userId="bb2291e0-f53c-426c-bc7e-e6da289e7b4f" providerId="ADAL" clId="{4E2D14C3-4C81-4449-96AF-2D365022FBEF}" dt="2020-12-22T19:37:52.972" v="2218" actId="1038"/>
          <ac:spMkLst>
            <pc:docMk/>
            <pc:sldMk cId="1009807059" sldId="8806"/>
            <ac:spMk id="89" creationId="{D2307FC7-D054-493D-80B1-C7BD7907D6E2}"/>
          </ac:spMkLst>
        </pc:spChg>
        <pc:spChg chg="mod">
          <ac:chgData name="Tereza Mendes" userId="bb2291e0-f53c-426c-bc7e-e6da289e7b4f" providerId="ADAL" clId="{4E2D14C3-4C81-4449-96AF-2D365022FBEF}" dt="2021-01-05T15:04:02.574" v="3160" actId="1036"/>
          <ac:spMkLst>
            <pc:docMk/>
            <pc:sldMk cId="1009807059" sldId="8806"/>
            <ac:spMk id="90" creationId="{29B9E17A-FC7A-4C88-AED2-7E4F662F4145}"/>
          </ac:spMkLst>
        </pc:spChg>
        <pc:spChg chg="add mod">
          <ac:chgData name="Tereza Mendes" userId="bb2291e0-f53c-426c-bc7e-e6da289e7b4f" providerId="ADAL" clId="{4E2D14C3-4C81-4449-96AF-2D365022FBEF}" dt="2020-12-22T19:38:00.512" v="2230" actId="1037"/>
          <ac:spMkLst>
            <pc:docMk/>
            <pc:sldMk cId="1009807059" sldId="8806"/>
            <ac:spMk id="91" creationId="{4FA65AE4-D46B-4AEF-B2F6-C6079E791ABE}"/>
          </ac:spMkLst>
        </pc:spChg>
        <pc:spChg chg="mod">
          <ac:chgData name="Tereza Mendes" userId="bb2291e0-f53c-426c-bc7e-e6da289e7b4f" providerId="ADAL" clId="{4E2D14C3-4C81-4449-96AF-2D365022FBEF}" dt="2021-01-05T15:07:59.311" v="3183" actId="1037"/>
          <ac:spMkLst>
            <pc:docMk/>
            <pc:sldMk cId="1009807059" sldId="8806"/>
            <ac:spMk id="93" creationId="{8A50A096-F2AC-4C2D-AEFE-0AA2690717B4}"/>
          </ac:spMkLst>
        </pc:spChg>
        <pc:spChg chg="add mod">
          <ac:chgData name="Tereza Mendes" userId="bb2291e0-f53c-426c-bc7e-e6da289e7b4f" providerId="ADAL" clId="{4E2D14C3-4C81-4449-96AF-2D365022FBEF}" dt="2021-01-05T15:15:41.385" v="3463" actId="1036"/>
          <ac:spMkLst>
            <pc:docMk/>
            <pc:sldMk cId="1009807059" sldId="8806"/>
            <ac:spMk id="95" creationId="{C8EFE77E-BC12-46BC-A15E-77D5B399E9D7}"/>
          </ac:spMkLst>
        </pc:spChg>
        <pc:spChg chg="add mod">
          <ac:chgData name="Tereza Mendes" userId="bb2291e0-f53c-426c-bc7e-e6da289e7b4f" providerId="ADAL" clId="{4E2D14C3-4C81-4449-96AF-2D365022FBEF}" dt="2021-01-05T15:15:41.385" v="3463" actId="1036"/>
          <ac:spMkLst>
            <pc:docMk/>
            <pc:sldMk cId="1009807059" sldId="8806"/>
            <ac:spMk id="96" creationId="{977D33B9-6856-43B7-89EF-0D8E0E4184BB}"/>
          </ac:spMkLst>
        </pc:spChg>
        <pc:spChg chg="del topLvl">
          <ac:chgData name="Tereza Mendes" userId="bb2291e0-f53c-426c-bc7e-e6da289e7b4f" providerId="ADAL" clId="{4E2D14C3-4C81-4449-96AF-2D365022FBEF}" dt="2020-12-22T19:29:53.808" v="2076" actId="478"/>
          <ac:spMkLst>
            <pc:docMk/>
            <pc:sldMk cId="1009807059" sldId="8806"/>
            <ac:spMk id="97" creationId="{D3B7031B-C845-41BC-98C2-2DF92E62E21F}"/>
          </ac:spMkLst>
        </pc:spChg>
        <pc:spChg chg="mod topLvl">
          <ac:chgData name="Tereza Mendes" userId="bb2291e0-f53c-426c-bc7e-e6da289e7b4f" providerId="ADAL" clId="{4E2D14C3-4C81-4449-96AF-2D365022FBEF}" dt="2020-12-22T19:37:35.134" v="2195" actId="403"/>
          <ac:spMkLst>
            <pc:docMk/>
            <pc:sldMk cId="1009807059" sldId="8806"/>
            <ac:spMk id="98" creationId="{38927109-8445-432B-BF2A-75F08FED51A7}"/>
          </ac:spMkLst>
        </pc:spChg>
        <pc:spChg chg="add mod">
          <ac:chgData name="Tereza Mendes" userId="bb2291e0-f53c-426c-bc7e-e6da289e7b4f" providerId="ADAL" clId="{4E2D14C3-4C81-4449-96AF-2D365022FBEF}" dt="2021-01-05T15:07:59.311" v="3183" actId="1037"/>
          <ac:spMkLst>
            <pc:docMk/>
            <pc:sldMk cId="1009807059" sldId="8806"/>
            <ac:spMk id="99" creationId="{74C61C31-57C9-42CF-AAE3-52F528BDEE2A}"/>
          </ac:spMkLst>
        </pc:spChg>
        <pc:spChg chg="add del mod">
          <ac:chgData name="Tereza Mendes" userId="bb2291e0-f53c-426c-bc7e-e6da289e7b4f" providerId="ADAL" clId="{4E2D14C3-4C81-4449-96AF-2D365022FBEF}" dt="2021-01-05T12:21:14.330" v="2999" actId="478"/>
          <ac:spMkLst>
            <pc:docMk/>
            <pc:sldMk cId="1009807059" sldId="8806"/>
            <ac:spMk id="102" creationId="{7C9E6D70-E0CA-40B6-86B9-89C22C0B7AEB}"/>
          </ac:spMkLst>
        </pc:spChg>
        <pc:spChg chg="add del mod">
          <ac:chgData name="Tereza Mendes" userId="bb2291e0-f53c-426c-bc7e-e6da289e7b4f" providerId="ADAL" clId="{4E2D14C3-4C81-4449-96AF-2D365022FBEF}" dt="2021-01-05T12:23:24.918" v="3034" actId="478"/>
          <ac:spMkLst>
            <pc:docMk/>
            <pc:sldMk cId="1009807059" sldId="8806"/>
            <ac:spMk id="103" creationId="{C9FFEA4B-FBB2-4405-990A-D6F65479FD1F}"/>
          </ac:spMkLst>
        </pc:spChg>
        <pc:spChg chg="add del mod">
          <ac:chgData name="Tereza Mendes" userId="bb2291e0-f53c-426c-bc7e-e6da289e7b4f" providerId="ADAL" clId="{4E2D14C3-4C81-4449-96AF-2D365022FBEF}" dt="2021-01-05T12:23:24.918" v="3034" actId="478"/>
          <ac:spMkLst>
            <pc:docMk/>
            <pc:sldMk cId="1009807059" sldId="8806"/>
            <ac:spMk id="104" creationId="{F0B18FC3-A72B-4D14-BA5E-3F57552C5006}"/>
          </ac:spMkLst>
        </pc:spChg>
        <pc:spChg chg="mod">
          <ac:chgData name="Tereza Mendes" userId="bb2291e0-f53c-426c-bc7e-e6da289e7b4f" providerId="ADAL" clId="{4E2D14C3-4C81-4449-96AF-2D365022FBEF}" dt="2021-01-05T12:24:39.495" v="3038" actId="14100"/>
          <ac:spMkLst>
            <pc:docMk/>
            <pc:sldMk cId="1009807059" sldId="8806"/>
            <ac:spMk id="106" creationId="{C8DE1C2E-7DEB-4A04-9936-DCFAA17DC0FE}"/>
          </ac:spMkLst>
        </pc:spChg>
        <pc:spChg chg="mod">
          <ac:chgData name="Tereza Mendes" userId="bb2291e0-f53c-426c-bc7e-e6da289e7b4f" providerId="ADAL" clId="{4E2D14C3-4C81-4449-96AF-2D365022FBEF}" dt="2021-01-05T12:23:21.426" v="3033" actId="14100"/>
          <ac:spMkLst>
            <pc:docMk/>
            <pc:sldMk cId="1009807059" sldId="8806"/>
            <ac:spMk id="107" creationId="{E3EA68C3-71A9-4B70-AEB6-D76695ACE9D1}"/>
          </ac:spMkLst>
        </pc:spChg>
        <pc:spChg chg="mod">
          <ac:chgData name="Tereza Mendes" userId="bb2291e0-f53c-426c-bc7e-e6da289e7b4f" providerId="ADAL" clId="{4E2D14C3-4C81-4449-96AF-2D365022FBEF}" dt="2021-01-05T12:22:40.864" v="3017" actId="1076"/>
          <ac:spMkLst>
            <pc:docMk/>
            <pc:sldMk cId="1009807059" sldId="8806"/>
            <ac:spMk id="108" creationId="{6056916B-ABCC-4E98-A5B1-BFAAD2BC6FDA}"/>
          </ac:spMkLst>
        </pc:spChg>
        <pc:spChg chg="mod">
          <ac:chgData name="Tereza Mendes" userId="bb2291e0-f53c-426c-bc7e-e6da289e7b4f" providerId="ADAL" clId="{4E2D14C3-4C81-4449-96AF-2D365022FBEF}" dt="2021-01-05T12:22:59.029" v="3029" actId="1036"/>
          <ac:spMkLst>
            <pc:docMk/>
            <pc:sldMk cId="1009807059" sldId="8806"/>
            <ac:spMk id="109" creationId="{A932592A-BF0F-4500-BF13-4DF23B93B313}"/>
          </ac:spMkLst>
        </pc:spChg>
        <pc:spChg chg="add mod">
          <ac:chgData name="Tereza Mendes" userId="bb2291e0-f53c-426c-bc7e-e6da289e7b4f" providerId="ADAL" clId="{4E2D14C3-4C81-4449-96AF-2D365022FBEF}" dt="2021-01-05T16:31:58.904" v="3709" actId="20577"/>
          <ac:spMkLst>
            <pc:docMk/>
            <pc:sldMk cId="1009807059" sldId="8806"/>
            <ac:spMk id="114" creationId="{F8EAE6EC-3321-49D5-96A9-4C21F655A4B3}"/>
          </ac:spMkLst>
        </pc:spChg>
        <pc:grpChg chg="mod">
          <ac:chgData name="Tereza Mendes" userId="bb2291e0-f53c-426c-bc7e-e6da289e7b4f" providerId="ADAL" clId="{4E2D14C3-4C81-4449-96AF-2D365022FBEF}" dt="2021-01-05T17:18:50.439" v="4204" actId="1036"/>
          <ac:grpSpMkLst>
            <pc:docMk/>
            <pc:sldMk cId="1009807059" sldId="8806"/>
            <ac:grpSpMk id="5" creationId="{84020D28-56E6-4BDA-9DB0-3F66CCBA7267}"/>
          </ac:grpSpMkLst>
        </pc:grpChg>
        <pc:grpChg chg="mod">
          <ac:chgData name="Tereza Mendes" userId="bb2291e0-f53c-426c-bc7e-e6da289e7b4f" providerId="ADAL" clId="{4E2D14C3-4C81-4449-96AF-2D365022FBEF}" dt="2020-12-22T18:16:11.985" v="756" actId="1035"/>
          <ac:grpSpMkLst>
            <pc:docMk/>
            <pc:sldMk cId="1009807059" sldId="8806"/>
            <ac:grpSpMk id="8" creationId="{B98F1AA4-AAB4-49E6-AF5B-77F89CEDE85E}"/>
          </ac:grpSpMkLst>
        </pc:grpChg>
        <pc:grpChg chg="mod">
          <ac:chgData name="Tereza Mendes" userId="bb2291e0-f53c-426c-bc7e-e6da289e7b4f" providerId="ADAL" clId="{4E2D14C3-4C81-4449-96AF-2D365022FBEF}" dt="2021-01-05T22:24:44.136" v="5958" actId="1076"/>
          <ac:grpSpMkLst>
            <pc:docMk/>
            <pc:sldMk cId="1009807059" sldId="8806"/>
            <ac:grpSpMk id="10" creationId="{9B745BF4-148B-49D3-BDB0-67CD591B4D4F}"/>
          </ac:grpSpMkLst>
        </pc:grpChg>
        <pc:grpChg chg="mod">
          <ac:chgData name="Tereza Mendes" userId="bb2291e0-f53c-426c-bc7e-e6da289e7b4f" providerId="ADAL" clId="{4E2D14C3-4C81-4449-96AF-2D365022FBEF}" dt="2020-12-22T18:16:11.985" v="756" actId="1035"/>
          <ac:grpSpMkLst>
            <pc:docMk/>
            <pc:sldMk cId="1009807059" sldId="8806"/>
            <ac:grpSpMk id="44" creationId="{42D18C3A-0525-4B08-A501-39F7CE0E3BC3}"/>
          </ac:grpSpMkLst>
        </pc:grpChg>
        <pc:grpChg chg="del mod">
          <ac:chgData name="Tereza Mendes" userId="bb2291e0-f53c-426c-bc7e-e6da289e7b4f" providerId="ADAL" clId="{4E2D14C3-4C81-4449-96AF-2D365022FBEF}" dt="2020-12-22T19:30:09.712" v="2087" actId="478"/>
          <ac:grpSpMkLst>
            <pc:docMk/>
            <pc:sldMk cId="1009807059" sldId="8806"/>
            <ac:grpSpMk id="56" creationId="{3E8B4AD0-3BDD-4F5A-9C6C-58C724FDD305}"/>
          </ac:grpSpMkLst>
        </pc:grpChg>
        <pc:grpChg chg="del mod">
          <ac:chgData name="Tereza Mendes" userId="bb2291e0-f53c-426c-bc7e-e6da289e7b4f" providerId="ADAL" clId="{4E2D14C3-4C81-4449-96AF-2D365022FBEF}" dt="2020-12-22T19:30:25.701" v="2092" actId="478"/>
          <ac:grpSpMkLst>
            <pc:docMk/>
            <pc:sldMk cId="1009807059" sldId="8806"/>
            <ac:grpSpMk id="64" creationId="{3BD949F4-8811-40CA-B3B6-45269F426009}"/>
          </ac:grpSpMkLst>
        </pc:grpChg>
        <pc:grpChg chg="add mod">
          <ac:chgData name="Tereza Mendes" userId="bb2291e0-f53c-426c-bc7e-e6da289e7b4f" providerId="ADAL" clId="{4E2D14C3-4C81-4449-96AF-2D365022FBEF}" dt="2021-01-05T17:19:50.935" v="4296" actId="1038"/>
          <ac:grpSpMkLst>
            <pc:docMk/>
            <pc:sldMk cId="1009807059" sldId="8806"/>
            <ac:grpSpMk id="69" creationId="{68677E4F-5B57-45D9-AE3F-251ED7B72D48}"/>
          </ac:grpSpMkLst>
        </pc:grpChg>
        <pc:grpChg chg="mod">
          <ac:chgData name="Tereza Mendes" userId="bb2291e0-f53c-426c-bc7e-e6da289e7b4f" providerId="ADAL" clId="{4E2D14C3-4C81-4449-96AF-2D365022FBEF}" dt="2021-01-05T17:20:01.957" v="4310" actId="1036"/>
          <ac:grpSpMkLst>
            <pc:docMk/>
            <pc:sldMk cId="1009807059" sldId="8806"/>
            <ac:grpSpMk id="73" creationId="{27248AF2-6282-4577-9933-104982005542}"/>
          </ac:grpSpMkLst>
        </pc:grpChg>
        <pc:grpChg chg="add del mod">
          <ac:chgData name="Tereza Mendes" userId="bb2291e0-f53c-426c-bc7e-e6da289e7b4f" providerId="ADAL" clId="{4E2D14C3-4C81-4449-96AF-2D365022FBEF}" dt="2020-12-22T18:15:57.539" v="752" actId="1037"/>
          <ac:grpSpMkLst>
            <pc:docMk/>
            <pc:sldMk cId="1009807059" sldId="8806"/>
            <ac:grpSpMk id="76" creationId="{CB7C2FCE-4CAF-4DB2-A714-70B84C303EAC}"/>
          </ac:grpSpMkLst>
        </pc:grpChg>
        <pc:grpChg chg="del mod">
          <ac:chgData name="Tereza Mendes" userId="bb2291e0-f53c-426c-bc7e-e6da289e7b4f" providerId="ADAL" clId="{4E2D14C3-4C81-4449-96AF-2D365022FBEF}" dt="2020-12-22T19:29:53.808" v="2076" actId="478"/>
          <ac:grpSpMkLst>
            <pc:docMk/>
            <pc:sldMk cId="1009807059" sldId="8806"/>
            <ac:grpSpMk id="96" creationId="{81AEB8F2-B443-4FEB-8550-3BD295448936}"/>
          </ac:grpSpMkLst>
        </pc:grpChg>
        <pc:grpChg chg="add mod">
          <ac:chgData name="Tereza Mendes" userId="bb2291e0-f53c-426c-bc7e-e6da289e7b4f" providerId="ADAL" clId="{4E2D14C3-4C81-4449-96AF-2D365022FBEF}" dt="2021-01-05T15:15:41.385" v="3463" actId="1036"/>
          <ac:grpSpMkLst>
            <pc:docMk/>
            <pc:sldMk cId="1009807059" sldId="8806"/>
            <ac:grpSpMk id="105" creationId="{9CED3C84-9BCC-4EA5-A494-9158ADCA91B1}"/>
          </ac:grpSpMkLst>
        </pc:grpChg>
        <pc:graphicFrameChg chg="mod ord modGraphic">
          <ac:chgData name="Tereza Mendes" userId="bb2291e0-f53c-426c-bc7e-e6da289e7b4f" providerId="ADAL" clId="{4E2D14C3-4C81-4449-96AF-2D365022FBEF}" dt="2021-01-05T20:03:28.728" v="5954" actId="207"/>
          <ac:graphicFrameMkLst>
            <pc:docMk/>
            <pc:sldMk cId="1009807059" sldId="8806"/>
            <ac:graphicFrameMk id="7" creationId="{16CB7E22-3BAD-4002-B248-E208A823C213}"/>
          </ac:graphicFrameMkLst>
        </pc:graphicFrameChg>
        <pc:graphicFrameChg chg="add del modGraphic">
          <ac:chgData name="Tereza Mendes" userId="bb2291e0-f53c-426c-bc7e-e6da289e7b4f" providerId="ADAL" clId="{4E2D14C3-4C81-4449-96AF-2D365022FBEF}" dt="2021-01-05T11:49:11.210" v="2827" actId="27309"/>
          <ac:graphicFrameMkLst>
            <pc:docMk/>
            <pc:sldMk cId="1009807059" sldId="8806"/>
            <ac:graphicFrameMk id="16" creationId="{A792E02B-6231-410B-B814-0EA67DBF2B08}"/>
          </ac:graphicFrameMkLst>
        </pc:graphicFrameChg>
        <pc:graphicFrameChg chg="add del mod">
          <ac:chgData name="Tereza Mendes" userId="bb2291e0-f53c-426c-bc7e-e6da289e7b4f" providerId="ADAL" clId="{4E2D14C3-4C81-4449-96AF-2D365022FBEF}" dt="2021-01-05T14:52:45.035" v="3117" actId="478"/>
          <ac:graphicFrameMkLst>
            <pc:docMk/>
            <pc:sldMk cId="1009807059" sldId="8806"/>
            <ac:graphicFrameMk id="111" creationId="{77B47C49-7802-445F-81C4-64FAF1943A8B}"/>
          </ac:graphicFrameMkLst>
        </pc:graphicFrameChg>
        <pc:cxnChg chg="del mod">
          <ac:chgData name="Tereza Mendes" userId="bb2291e0-f53c-426c-bc7e-e6da289e7b4f" providerId="ADAL" clId="{4E2D14C3-4C81-4449-96AF-2D365022FBEF}" dt="2021-01-05T15:07:33.707" v="3173" actId="478"/>
          <ac:cxnSpMkLst>
            <pc:docMk/>
            <pc:sldMk cId="1009807059" sldId="8806"/>
            <ac:cxnSpMk id="15" creationId="{23479EB5-67FD-41DA-9EEA-7DB7CC83B262}"/>
          </ac:cxnSpMkLst>
        </pc:cxnChg>
        <pc:cxnChg chg="add mod">
          <ac:chgData name="Tereza Mendes" userId="bb2291e0-f53c-426c-bc7e-e6da289e7b4f" providerId="ADAL" clId="{4E2D14C3-4C81-4449-96AF-2D365022FBEF}" dt="2021-01-05T15:15:41.385" v="3463" actId="1036"/>
          <ac:cxnSpMkLst>
            <pc:docMk/>
            <pc:sldMk cId="1009807059" sldId="8806"/>
            <ac:cxnSpMk id="84" creationId="{4954B169-813F-4D9C-ACDD-624C231BC9A1}"/>
          </ac:cxnSpMkLst>
        </pc:cxnChg>
        <pc:cxnChg chg="del mod">
          <ac:chgData name="Tereza Mendes" userId="bb2291e0-f53c-426c-bc7e-e6da289e7b4f" providerId="ADAL" clId="{4E2D14C3-4C81-4449-96AF-2D365022FBEF}" dt="2021-01-05T15:07:33.707" v="3173" actId="478"/>
          <ac:cxnSpMkLst>
            <pc:docMk/>
            <pc:sldMk cId="1009807059" sldId="8806"/>
            <ac:cxnSpMk id="92" creationId="{2754C3F5-1246-40B1-A758-3E4EBE9392D6}"/>
          </ac:cxnSpMkLst>
        </pc:cxnChg>
        <pc:cxnChg chg="add mod">
          <ac:chgData name="Tereza Mendes" userId="bb2291e0-f53c-426c-bc7e-e6da289e7b4f" providerId="ADAL" clId="{4E2D14C3-4C81-4449-96AF-2D365022FBEF}" dt="2021-01-05T15:15:41.385" v="3463" actId="1036"/>
          <ac:cxnSpMkLst>
            <pc:docMk/>
            <pc:sldMk cId="1009807059" sldId="8806"/>
            <ac:cxnSpMk id="94" creationId="{9B1E768B-2090-45CF-AA7F-402D25FDDC26}"/>
          </ac:cxnSpMkLst>
        </pc:cxnChg>
        <pc:cxnChg chg="add mod">
          <ac:chgData name="Tereza Mendes" userId="bb2291e0-f53c-426c-bc7e-e6da289e7b4f" providerId="ADAL" clId="{4E2D14C3-4C81-4449-96AF-2D365022FBEF}" dt="2021-01-05T15:15:41.385" v="3463" actId="1036"/>
          <ac:cxnSpMkLst>
            <pc:docMk/>
            <pc:sldMk cId="1009807059" sldId="8806"/>
            <ac:cxnSpMk id="97" creationId="{97F3054E-473F-434F-80CF-E18196B91F23}"/>
          </ac:cxnSpMkLst>
        </pc:cxnChg>
        <pc:cxnChg chg="add mod">
          <ac:chgData name="Tereza Mendes" userId="bb2291e0-f53c-426c-bc7e-e6da289e7b4f" providerId="ADAL" clId="{4E2D14C3-4C81-4449-96AF-2D365022FBEF}" dt="2021-01-05T15:07:59.311" v="3183" actId="1037"/>
          <ac:cxnSpMkLst>
            <pc:docMk/>
            <pc:sldMk cId="1009807059" sldId="8806"/>
            <ac:cxnSpMk id="100" creationId="{EBE32F06-42F8-4740-8240-CAF0B3FB29AC}"/>
          </ac:cxnSpMkLst>
        </pc:cxnChg>
        <pc:cxnChg chg="add mod">
          <ac:chgData name="Tereza Mendes" userId="bb2291e0-f53c-426c-bc7e-e6da289e7b4f" providerId="ADAL" clId="{4E2D14C3-4C81-4449-96AF-2D365022FBEF}" dt="2021-01-05T15:15:41.385" v="3463" actId="1036"/>
          <ac:cxnSpMkLst>
            <pc:docMk/>
            <pc:sldMk cId="1009807059" sldId="8806"/>
            <ac:cxnSpMk id="101" creationId="{9B889F78-7553-418F-A7DC-3A395623403C}"/>
          </ac:cxnSpMkLst>
        </pc:cxnChg>
        <pc:cxnChg chg="mod">
          <ac:chgData name="Tereza Mendes" userId="bb2291e0-f53c-426c-bc7e-e6da289e7b4f" providerId="ADAL" clId="{4E2D14C3-4C81-4449-96AF-2D365022FBEF}" dt="2021-01-05T12:23:11.311" v="3031" actId="14100"/>
          <ac:cxnSpMkLst>
            <pc:docMk/>
            <pc:sldMk cId="1009807059" sldId="8806"/>
            <ac:cxnSpMk id="110" creationId="{F87E524E-F849-4BFE-A5EA-2CD1693A7B2E}"/>
          </ac:cxnSpMkLst>
        </pc:cxnChg>
        <pc:cxnChg chg="add mod">
          <ac:chgData name="Tereza Mendes" userId="bb2291e0-f53c-426c-bc7e-e6da289e7b4f" providerId="ADAL" clId="{4E2D14C3-4C81-4449-96AF-2D365022FBEF}" dt="2021-01-05T15:15:51.768" v="3465" actId="14100"/>
          <ac:cxnSpMkLst>
            <pc:docMk/>
            <pc:sldMk cId="1009807059" sldId="8806"/>
            <ac:cxnSpMk id="112" creationId="{D40C3181-12A1-45D7-B9D3-5FAD1E43D020}"/>
          </ac:cxnSpMkLst>
        </pc:cxnChg>
        <pc:cxnChg chg="add mod">
          <ac:chgData name="Tereza Mendes" userId="bb2291e0-f53c-426c-bc7e-e6da289e7b4f" providerId="ADAL" clId="{4E2D14C3-4C81-4449-96AF-2D365022FBEF}" dt="2021-01-05T15:15:46.430" v="3464" actId="14100"/>
          <ac:cxnSpMkLst>
            <pc:docMk/>
            <pc:sldMk cId="1009807059" sldId="8806"/>
            <ac:cxnSpMk id="113" creationId="{BEAF92D9-5851-48F3-8237-B86B2CF7F710}"/>
          </ac:cxnSpMkLst>
        </pc:cxnChg>
      </pc:sldChg>
      <pc:sldChg chg="addSp delSp modSp add ord">
        <pc:chgData name="Tereza Mendes" userId="bb2291e0-f53c-426c-bc7e-e6da289e7b4f" providerId="ADAL" clId="{4E2D14C3-4C81-4449-96AF-2D365022FBEF}" dt="2021-01-08T14:26:39.027" v="10634" actId="13926"/>
        <pc:sldMkLst>
          <pc:docMk/>
          <pc:sldMk cId="2220034289" sldId="8807"/>
        </pc:sldMkLst>
        <pc:spChg chg="mod">
          <ac:chgData name="Tereza Mendes" userId="bb2291e0-f53c-426c-bc7e-e6da289e7b4f" providerId="ADAL" clId="{4E2D14C3-4C81-4449-96AF-2D365022FBEF}" dt="2021-01-05T16:33:28.323" v="3744" actId="20577"/>
          <ac:spMkLst>
            <pc:docMk/>
            <pc:sldMk cId="2220034289" sldId="8807"/>
            <ac:spMk id="2" creationId="{E4065686-F7E1-4579-8528-CCDA6A8807B3}"/>
          </ac:spMkLst>
        </pc:spChg>
        <pc:spChg chg="add del mod">
          <ac:chgData name="Tereza Mendes" userId="bb2291e0-f53c-426c-bc7e-e6da289e7b4f" providerId="ADAL" clId="{4E2D14C3-4C81-4449-96AF-2D365022FBEF}" dt="2021-01-05T18:21:52.593" v="5022" actId="478"/>
          <ac:spMkLst>
            <pc:docMk/>
            <pc:sldMk cId="2220034289" sldId="8807"/>
            <ac:spMk id="3" creationId="{6025BC8D-64C3-42A3-8BB2-7E4E18DCD9B4}"/>
          </ac:spMkLst>
        </pc:spChg>
        <pc:spChg chg="ord">
          <ac:chgData name="Tereza Mendes" userId="bb2291e0-f53c-426c-bc7e-e6da289e7b4f" providerId="ADAL" clId="{4E2D14C3-4C81-4449-96AF-2D365022FBEF}" dt="2021-01-06T14:21:29.726" v="6826" actId="167"/>
          <ac:spMkLst>
            <pc:docMk/>
            <pc:sldMk cId="2220034289" sldId="8807"/>
            <ac:spMk id="17" creationId="{EE9A4875-21A8-4E08-9778-FECEDED0A2AF}"/>
          </ac:spMkLst>
        </pc:spChg>
        <pc:spChg chg="mod">
          <ac:chgData name="Tereza Mendes" userId="bb2291e0-f53c-426c-bc7e-e6da289e7b4f" providerId="ADAL" clId="{4E2D14C3-4C81-4449-96AF-2D365022FBEF}" dt="2021-01-06T14:20:25.350" v="6795" actId="14100"/>
          <ac:spMkLst>
            <pc:docMk/>
            <pc:sldMk cId="2220034289" sldId="8807"/>
            <ac:spMk id="18" creationId="{F5324C2C-CCBC-477E-84A9-702970A4CF72}"/>
          </ac:spMkLst>
        </pc:spChg>
        <pc:spChg chg="del mod">
          <ac:chgData name="Tereza Mendes" userId="bb2291e0-f53c-426c-bc7e-e6da289e7b4f" providerId="ADAL" clId="{4E2D14C3-4C81-4449-96AF-2D365022FBEF}" dt="2021-01-06T14:21:24.579" v="6823" actId="478"/>
          <ac:spMkLst>
            <pc:docMk/>
            <pc:sldMk cId="2220034289" sldId="8807"/>
            <ac:spMk id="19" creationId="{77B30FFB-986A-43D4-96A5-644C11DCABA1}"/>
          </ac:spMkLst>
        </pc:spChg>
        <pc:spChg chg="mod">
          <ac:chgData name="Tereza Mendes" userId="bb2291e0-f53c-426c-bc7e-e6da289e7b4f" providerId="ADAL" clId="{4E2D14C3-4C81-4449-96AF-2D365022FBEF}" dt="2021-01-06T15:04:51.372" v="7153" actId="20577"/>
          <ac:spMkLst>
            <pc:docMk/>
            <pc:sldMk cId="2220034289" sldId="8807"/>
            <ac:spMk id="23" creationId="{9B09B1FB-7F54-4443-B5E4-EC261230603C}"/>
          </ac:spMkLst>
        </pc:spChg>
        <pc:spChg chg="add mod ord">
          <ac:chgData name="Tereza Mendes" userId="bb2291e0-f53c-426c-bc7e-e6da289e7b4f" providerId="ADAL" clId="{4E2D14C3-4C81-4449-96AF-2D365022FBEF}" dt="2021-01-06T14:21:33.678" v="6827" actId="14100"/>
          <ac:spMkLst>
            <pc:docMk/>
            <pc:sldMk cId="2220034289" sldId="8807"/>
            <ac:spMk id="27" creationId="{B498E9D6-69C5-4DD1-8004-A881B6ABFE2B}"/>
          </ac:spMkLst>
        </pc:spChg>
        <pc:spChg chg="mod">
          <ac:chgData name="Tereza Mendes" userId="bb2291e0-f53c-426c-bc7e-e6da289e7b4f" providerId="ADAL" clId="{4E2D14C3-4C81-4449-96AF-2D365022FBEF}" dt="2021-01-08T14:26:39.027" v="10634" actId="13926"/>
          <ac:spMkLst>
            <pc:docMk/>
            <pc:sldMk cId="2220034289" sldId="8807"/>
            <ac:spMk id="34" creationId="{13B98DAC-4356-4A9A-BD8C-4EAF68F258AD}"/>
          </ac:spMkLst>
        </pc:spChg>
        <pc:spChg chg="mod">
          <ac:chgData name="Tereza Mendes" userId="bb2291e0-f53c-426c-bc7e-e6da289e7b4f" providerId="ADAL" clId="{4E2D14C3-4C81-4449-96AF-2D365022FBEF}" dt="2021-01-05T16:33:40.041" v="3747" actId="20577"/>
          <ac:spMkLst>
            <pc:docMk/>
            <pc:sldMk cId="2220034289" sldId="8807"/>
            <ac:spMk id="35" creationId="{1706A8F9-E956-4CAC-BE2F-4C652246BE32}"/>
          </ac:spMkLst>
        </pc:spChg>
        <pc:spChg chg="mod">
          <ac:chgData name="Tereza Mendes" userId="bb2291e0-f53c-426c-bc7e-e6da289e7b4f" providerId="ADAL" clId="{4E2D14C3-4C81-4449-96AF-2D365022FBEF}" dt="2021-01-05T22:40:30.484" v="6343" actId="1037"/>
          <ac:spMkLst>
            <pc:docMk/>
            <pc:sldMk cId="2220034289" sldId="8807"/>
            <ac:spMk id="42" creationId="{DC1A494E-2893-445D-951B-4F0662267B0F}"/>
          </ac:spMkLst>
        </pc:spChg>
        <pc:spChg chg="mod">
          <ac:chgData name="Tereza Mendes" userId="bb2291e0-f53c-426c-bc7e-e6da289e7b4f" providerId="ADAL" clId="{4E2D14C3-4C81-4449-96AF-2D365022FBEF}" dt="2021-01-05T22:40:33.438" v="6345" actId="1037"/>
          <ac:spMkLst>
            <pc:docMk/>
            <pc:sldMk cId="2220034289" sldId="8807"/>
            <ac:spMk id="45" creationId="{74F65644-C39F-4E50-AC40-02032FB1FF84}"/>
          </ac:spMkLst>
        </pc:spChg>
        <pc:spChg chg="mod">
          <ac:chgData name="Tereza Mendes" userId="bb2291e0-f53c-426c-bc7e-e6da289e7b4f" providerId="ADAL" clId="{4E2D14C3-4C81-4449-96AF-2D365022FBEF}" dt="2021-01-05T22:40:33.438" v="6345" actId="1037"/>
          <ac:spMkLst>
            <pc:docMk/>
            <pc:sldMk cId="2220034289" sldId="8807"/>
            <ac:spMk id="47" creationId="{5676F5EE-D2AC-4428-AABE-F043784B4ACB}"/>
          </ac:spMkLst>
        </pc:spChg>
        <pc:spChg chg="mod">
          <ac:chgData name="Tereza Mendes" userId="bb2291e0-f53c-426c-bc7e-e6da289e7b4f" providerId="ADAL" clId="{4E2D14C3-4C81-4449-96AF-2D365022FBEF}" dt="2021-01-05T22:40:30.484" v="6343" actId="1037"/>
          <ac:spMkLst>
            <pc:docMk/>
            <pc:sldMk cId="2220034289" sldId="8807"/>
            <ac:spMk id="49" creationId="{BD3E0AF5-F383-4E5B-95D8-D0BCA974EC36}"/>
          </ac:spMkLst>
        </pc:spChg>
        <pc:spChg chg="mod">
          <ac:chgData name="Tereza Mendes" userId="bb2291e0-f53c-426c-bc7e-e6da289e7b4f" providerId="ADAL" clId="{4E2D14C3-4C81-4449-96AF-2D365022FBEF}" dt="2021-01-06T14:20:44.953" v="6818" actId="1038"/>
          <ac:spMkLst>
            <pc:docMk/>
            <pc:sldMk cId="2220034289" sldId="8807"/>
            <ac:spMk id="56" creationId="{0937C99F-7087-4FB0-98D0-DB2D96F1FEDC}"/>
          </ac:spMkLst>
        </pc:spChg>
        <pc:spChg chg="mod">
          <ac:chgData name="Tereza Mendes" userId="bb2291e0-f53c-426c-bc7e-e6da289e7b4f" providerId="ADAL" clId="{4E2D14C3-4C81-4449-96AF-2D365022FBEF}" dt="2021-01-06T15:05:07.127" v="7155" actId="20577"/>
          <ac:spMkLst>
            <pc:docMk/>
            <pc:sldMk cId="2220034289" sldId="8807"/>
            <ac:spMk id="57" creationId="{607DFE4D-0CF2-4D5C-B238-F45ED141D961}"/>
          </ac:spMkLst>
        </pc:spChg>
        <pc:spChg chg="mod">
          <ac:chgData name="Tereza Mendes" userId="bb2291e0-f53c-426c-bc7e-e6da289e7b4f" providerId="ADAL" clId="{4E2D14C3-4C81-4449-96AF-2D365022FBEF}" dt="2021-01-05T22:40:17.660" v="6335" actId="1037"/>
          <ac:spMkLst>
            <pc:docMk/>
            <pc:sldMk cId="2220034289" sldId="8807"/>
            <ac:spMk id="59" creationId="{B4A8D996-6E2A-498F-A334-F7870B54CBA6}"/>
          </ac:spMkLst>
        </pc:spChg>
        <pc:spChg chg="mod">
          <ac:chgData name="Tereza Mendes" userId="bb2291e0-f53c-426c-bc7e-e6da289e7b4f" providerId="ADAL" clId="{4E2D14C3-4C81-4449-96AF-2D365022FBEF}" dt="2021-01-05T22:40:17.660" v="6335" actId="1037"/>
          <ac:spMkLst>
            <pc:docMk/>
            <pc:sldMk cId="2220034289" sldId="8807"/>
            <ac:spMk id="60" creationId="{07CAA3B6-63D9-42AF-9E6A-3A87BBBD54B9}"/>
          </ac:spMkLst>
        </pc:spChg>
        <pc:graphicFrameChg chg="modGraphic">
          <ac:chgData name="Tereza Mendes" userId="bb2291e0-f53c-426c-bc7e-e6da289e7b4f" providerId="ADAL" clId="{4E2D14C3-4C81-4449-96AF-2D365022FBEF}" dt="2021-01-05T17:15:53.646" v="4136" actId="20577"/>
          <ac:graphicFrameMkLst>
            <pc:docMk/>
            <pc:sldMk cId="2220034289" sldId="8807"/>
            <ac:graphicFrameMk id="51" creationId="{73AF6B9E-17FF-4363-BDE7-369DD67BBDFE}"/>
          </ac:graphicFrameMkLst>
        </pc:graphicFrameChg>
      </pc:sldChg>
      <pc:sldChg chg="addSp delSp modSp add">
        <pc:chgData name="Tereza Mendes" userId="bb2291e0-f53c-426c-bc7e-e6da289e7b4f" providerId="ADAL" clId="{4E2D14C3-4C81-4449-96AF-2D365022FBEF}" dt="2021-01-08T21:54:03.304" v="10936" actId="20577"/>
        <pc:sldMkLst>
          <pc:docMk/>
          <pc:sldMk cId="720035197" sldId="8808"/>
        </pc:sldMkLst>
        <pc:spChg chg="mod">
          <ac:chgData name="Tereza Mendes" userId="bb2291e0-f53c-426c-bc7e-e6da289e7b4f" providerId="ADAL" clId="{4E2D14C3-4C81-4449-96AF-2D365022FBEF}" dt="2021-01-05T17:24:03.415" v="4357" actId="404"/>
          <ac:spMkLst>
            <pc:docMk/>
            <pc:sldMk cId="720035197" sldId="8808"/>
            <ac:spMk id="2" creationId="{E4065686-F7E1-4579-8528-CCDA6A8807B3}"/>
          </ac:spMkLst>
        </pc:spChg>
        <pc:spChg chg="add del mod">
          <ac:chgData name="Tereza Mendes" userId="bb2291e0-f53c-426c-bc7e-e6da289e7b4f" providerId="ADAL" clId="{4E2D14C3-4C81-4449-96AF-2D365022FBEF}" dt="2021-01-05T18:33:39.914" v="5932" actId="478"/>
          <ac:spMkLst>
            <pc:docMk/>
            <pc:sldMk cId="720035197" sldId="8808"/>
            <ac:spMk id="3" creationId="{04692515-2BFB-4DE4-BA16-703ED3EE76F5}"/>
          </ac:spMkLst>
        </pc:spChg>
        <pc:spChg chg="mod">
          <ac:chgData name="Tereza Mendes" userId="bb2291e0-f53c-426c-bc7e-e6da289e7b4f" providerId="ADAL" clId="{4E2D14C3-4C81-4449-96AF-2D365022FBEF}" dt="2021-01-06T14:18:51.913" v="6757" actId="1037"/>
          <ac:spMkLst>
            <pc:docMk/>
            <pc:sldMk cId="720035197" sldId="8808"/>
            <ac:spMk id="18" creationId="{F5324C2C-CCBC-477E-84A9-702970A4CF72}"/>
          </ac:spMkLst>
        </pc:spChg>
        <pc:spChg chg="mod">
          <ac:chgData name="Tereza Mendes" userId="bb2291e0-f53c-426c-bc7e-e6da289e7b4f" providerId="ADAL" clId="{4E2D14C3-4C81-4449-96AF-2D365022FBEF}" dt="2021-01-06T14:19:50.861" v="6791" actId="1038"/>
          <ac:spMkLst>
            <pc:docMk/>
            <pc:sldMk cId="720035197" sldId="8808"/>
            <ac:spMk id="19" creationId="{77B30FFB-986A-43D4-96A5-644C11DCABA1}"/>
          </ac:spMkLst>
        </pc:spChg>
        <pc:spChg chg="mod">
          <ac:chgData name="Tereza Mendes" userId="bb2291e0-f53c-426c-bc7e-e6da289e7b4f" providerId="ADAL" clId="{4E2D14C3-4C81-4449-96AF-2D365022FBEF}" dt="2021-01-06T15:05:16.152" v="7157"/>
          <ac:spMkLst>
            <pc:docMk/>
            <pc:sldMk cId="720035197" sldId="8808"/>
            <ac:spMk id="23" creationId="{9B09B1FB-7F54-4443-B5E4-EC261230603C}"/>
          </ac:spMkLst>
        </pc:spChg>
        <pc:spChg chg="add del mod">
          <ac:chgData name="Tereza Mendes" userId="bb2291e0-f53c-426c-bc7e-e6da289e7b4f" providerId="ADAL" clId="{4E2D14C3-4C81-4449-96AF-2D365022FBEF}" dt="2021-01-08T21:48:21.457" v="10916" actId="478"/>
          <ac:spMkLst>
            <pc:docMk/>
            <pc:sldMk cId="720035197" sldId="8808"/>
            <ac:spMk id="27" creationId="{153F16DC-C922-4AFA-B336-A0DB59E778E1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28" creationId="{43EF244A-989A-41BE-8A10-D7D81C97A499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29" creationId="{6DEB75ED-3F21-47BC-B782-280AAF0E5CF5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30" creationId="{F6B2B1DC-FE35-4C3A-B13C-3F9547476AAB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31" creationId="{2174E688-2A04-43BC-832C-2A4850D8F0B6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32" creationId="{2709AE52-0BAE-4513-AE9E-4D222DF8A151}"/>
          </ac:spMkLst>
        </pc:spChg>
        <pc:spChg chg="mod">
          <ac:chgData name="Tereza Mendes" userId="bb2291e0-f53c-426c-bc7e-e6da289e7b4f" providerId="ADAL" clId="{4E2D14C3-4C81-4449-96AF-2D365022FBEF}" dt="2021-01-08T21:54:03.304" v="10936" actId="20577"/>
          <ac:spMkLst>
            <pc:docMk/>
            <pc:sldMk cId="720035197" sldId="8808"/>
            <ac:spMk id="34" creationId="{13B98DAC-4356-4A9A-BD8C-4EAF68F258AD}"/>
          </ac:spMkLst>
        </pc:spChg>
        <pc:spChg chg="mod">
          <ac:chgData name="Tereza Mendes" userId="bb2291e0-f53c-426c-bc7e-e6da289e7b4f" providerId="ADAL" clId="{4E2D14C3-4C81-4449-96AF-2D365022FBEF}" dt="2021-01-05T17:24:19.823" v="4360" actId="20577"/>
          <ac:spMkLst>
            <pc:docMk/>
            <pc:sldMk cId="720035197" sldId="8808"/>
            <ac:spMk id="35" creationId="{1706A8F9-E956-4CAC-BE2F-4C652246BE32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37" creationId="{F127FB0D-74F6-4ED0-A165-196997C310E3}"/>
          </ac:spMkLst>
        </pc:spChg>
        <pc:spChg chg="mod">
          <ac:chgData name="Tereza Mendes" userId="bb2291e0-f53c-426c-bc7e-e6da289e7b4f" providerId="ADAL" clId="{4E2D14C3-4C81-4449-96AF-2D365022FBEF}" dt="2021-01-08T21:48:16.487" v="10914" actId="1076"/>
          <ac:spMkLst>
            <pc:docMk/>
            <pc:sldMk cId="720035197" sldId="8808"/>
            <ac:spMk id="38" creationId="{55C5EEAF-63B8-4762-A3EB-9A151742638D}"/>
          </ac:spMkLst>
        </pc:spChg>
        <pc:spChg chg="add">
          <ac:chgData name="Tereza Mendes" userId="bb2291e0-f53c-426c-bc7e-e6da289e7b4f" providerId="ADAL" clId="{4E2D14C3-4C81-4449-96AF-2D365022FBEF}" dt="2021-01-05T22:40:45.249" v="6349"/>
          <ac:spMkLst>
            <pc:docMk/>
            <pc:sldMk cId="720035197" sldId="8808"/>
            <ac:spMk id="39" creationId="{40646488-1C4B-4498-B25A-37A2CFBFDC65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42" creationId="{DC1A494E-2893-445D-951B-4F0662267B0F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44" creationId="{26D1F922-540F-47A3-A498-6E34D8B5C32F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45" creationId="{74F65644-C39F-4E50-AC40-02032FB1FF84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47" creationId="{5676F5EE-D2AC-4428-AABE-F043784B4ACB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49" creationId="{BD3E0AF5-F383-4E5B-95D8-D0BCA974EC36}"/>
          </ac:spMkLst>
        </pc:spChg>
        <pc:spChg chg="mod">
          <ac:chgData name="Tereza Mendes" userId="bb2291e0-f53c-426c-bc7e-e6da289e7b4f" providerId="ADAL" clId="{4E2D14C3-4C81-4449-96AF-2D365022FBEF}" dt="2021-01-06T14:19:00.513" v="6762" actId="1038"/>
          <ac:spMkLst>
            <pc:docMk/>
            <pc:sldMk cId="720035197" sldId="8808"/>
            <ac:spMk id="56" creationId="{0937C99F-7087-4FB0-98D0-DB2D96F1FEDC}"/>
          </ac:spMkLst>
        </pc:spChg>
        <pc:spChg chg="mod">
          <ac:chgData name="Tereza Mendes" userId="bb2291e0-f53c-426c-bc7e-e6da289e7b4f" providerId="ADAL" clId="{4E2D14C3-4C81-4449-96AF-2D365022FBEF}" dt="2021-01-06T15:05:46.763" v="7165" actId="1037"/>
          <ac:spMkLst>
            <pc:docMk/>
            <pc:sldMk cId="720035197" sldId="8808"/>
            <ac:spMk id="57" creationId="{607DFE4D-0CF2-4D5C-B238-F45ED141D961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59" creationId="{B4A8D996-6E2A-498F-A334-F7870B54CBA6}"/>
          </ac:spMkLst>
        </pc:spChg>
        <pc:spChg chg="del">
          <ac:chgData name="Tereza Mendes" userId="bb2291e0-f53c-426c-bc7e-e6da289e7b4f" providerId="ADAL" clId="{4E2D14C3-4C81-4449-96AF-2D365022FBEF}" dt="2021-01-05T22:40:43.503" v="6348" actId="478"/>
          <ac:spMkLst>
            <pc:docMk/>
            <pc:sldMk cId="720035197" sldId="8808"/>
            <ac:spMk id="60" creationId="{07CAA3B6-63D9-42AF-9E6A-3A87BBBD54B9}"/>
          </ac:spMkLst>
        </pc:spChg>
        <pc:graphicFrameChg chg="modGraphic">
          <ac:chgData name="Tereza Mendes" userId="bb2291e0-f53c-426c-bc7e-e6da289e7b4f" providerId="ADAL" clId="{4E2D14C3-4C81-4449-96AF-2D365022FBEF}" dt="2021-01-05T17:31:14.516" v="4514" actId="20577"/>
          <ac:graphicFrameMkLst>
            <pc:docMk/>
            <pc:sldMk cId="720035197" sldId="8808"/>
            <ac:graphicFrameMk id="51" creationId="{73AF6B9E-17FF-4363-BDE7-369DD67BBDFE}"/>
          </ac:graphicFrameMkLst>
        </pc:graphicFrameChg>
        <pc:cxnChg chg="add">
          <ac:chgData name="Tereza Mendes" userId="bb2291e0-f53c-426c-bc7e-e6da289e7b4f" providerId="ADAL" clId="{4E2D14C3-4C81-4449-96AF-2D365022FBEF}" dt="2021-01-05T22:40:45.249" v="6349"/>
          <ac:cxnSpMkLst>
            <pc:docMk/>
            <pc:sldMk cId="720035197" sldId="8808"/>
            <ac:cxnSpMk id="33" creationId="{272E2B38-0DD7-443D-B894-6EC5DD4C6D5A}"/>
          </ac:cxnSpMkLst>
        </pc:cxnChg>
        <pc:cxnChg chg="del">
          <ac:chgData name="Tereza Mendes" userId="bb2291e0-f53c-426c-bc7e-e6da289e7b4f" providerId="ADAL" clId="{4E2D14C3-4C81-4449-96AF-2D365022FBEF}" dt="2021-01-05T22:40:43.503" v="6348" actId="478"/>
          <ac:cxnSpMkLst>
            <pc:docMk/>
            <pc:sldMk cId="720035197" sldId="8808"/>
            <ac:cxnSpMk id="55" creationId="{705FD41C-8D3A-4C0B-B0B4-7E537F6EDB21}"/>
          </ac:cxnSpMkLst>
        </pc:cxnChg>
      </pc:sldChg>
      <pc:sldChg chg="addSp modSp add">
        <pc:chgData name="Tereza Mendes" userId="bb2291e0-f53c-426c-bc7e-e6da289e7b4f" providerId="ADAL" clId="{4E2D14C3-4C81-4449-96AF-2D365022FBEF}" dt="2021-01-08T21:56:33.970" v="10946" actId="20577"/>
        <pc:sldMkLst>
          <pc:docMk/>
          <pc:sldMk cId="4150128491" sldId="8809"/>
        </pc:sldMkLst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9" creationId="{B18420D9-4D8B-4FF7-BDD1-0CF69F57DE81}"/>
          </ac:spMkLst>
        </pc:spChg>
        <pc:spChg chg="mod">
          <ac:chgData name="Tereza Mendes" userId="bb2291e0-f53c-426c-bc7e-e6da289e7b4f" providerId="ADAL" clId="{4E2D14C3-4C81-4449-96AF-2D365022FBEF}" dt="2021-01-06T21:37:41.306" v="10385" actId="1035"/>
          <ac:spMkLst>
            <pc:docMk/>
            <pc:sldMk cId="4150128491" sldId="8809"/>
            <ac:spMk id="21" creationId="{483B693C-D8D0-4527-95B2-9B339E3FC4B4}"/>
          </ac:spMkLst>
        </pc:spChg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45" creationId="{17235E70-09A4-446B-853F-EDDDB89804B0}"/>
          </ac:spMkLst>
        </pc:spChg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46" creationId="{32D4E718-DC2E-4B27-AD40-F485566B306E}"/>
          </ac:spMkLst>
        </pc:spChg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47" creationId="{936A455C-8D05-4BEB-A6AF-F034012B7911}"/>
          </ac:spMkLst>
        </pc:spChg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48" creationId="{D7284F33-EA6D-4435-82F2-9358950EAAE1}"/>
          </ac:spMkLst>
        </pc:spChg>
        <pc:spChg chg="mod">
          <ac:chgData name="Tereza Mendes" userId="bb2291e0-f53c-426c-bc7e-e6da289e7b4f" providerId="ADAL" clId="{4E2D14C3-4C81-4449-96AF-2D365022FBEF}" dt="2021-01-05T22:33:53.869" v="6098" actId="1036"/>
          <ac:spMkLst>
            <pc:docMk/>
            <pc:sldMk cId="4150128491" sldId="8809"/>
            <ac:spMk id="49" creationId="{B9A077D0-4CEE-4C33-8AD7-8F52C68756E4}"/>
          </ac:spMkLst>
        </pc:spChg>
        <pc:spChg chg="mod">
          <ac:chgData name="Tereza Mendes" userId="bb2291e0-f53c-426c-bc7e-e6da289e7b4f" providerId="ADAL" clId="{4E2D14C3-4C81-4449-96AF-2D365022FBEF}" dt="2021-01-05T22:36:08.524" v="6278" actId="1038"/>
          <ac:spMkLst>
            <pc:docMk/>
            <pc:sldMk cId="4150128491" sldId="8809"/>
            <ac:spMk id="59" creationId="{5FAA9B5E-5BC5-450C-9FE2-C5C73C99FB00}"/>
          </ac:spMkLst>
        </pc:spChg>
        <pc:spChg chg="mod">
          <ac:chgData name="Tereza Mendes" userId="bb2291e0-f53c-426c-bc7e-e6da289e7b4f" providerId="ADAL" clId="{4E2D14C3-4C81-4449-96AF-2D365022FBEF}" dt="2021-01-05T22:36:04.459" v="6274" actId="1037"/>
          <ac:spMkLst>
            <pc:docMk/>
            <pc:sldMk cId="4150128491" sldId="8809"/>
            <ac:spMk id="66" creationId="{46CEDF37-3084-4DCE-B06F-58C3B59DC869}"/>
          </ac:spMkLst>
        </pc:spChg>
        <pc:spChg chg="mod">
          <ac:chgData name="Tereza Mendes" userId="bb2291e0-f53c-426c-bc7e-e6da289e7b4f" providerId="ADAL" clId="{4E2D14C3-4C81-4449-96AF-2D365022FBEF}" dt="2021-01-05T22:31:53.431" v="5976" actId="20577"/>
          <ac:spMkLst>
            <pc:docMk/>
            <pc:sldMk cId="4150128491" sldId="8809"/>
            <ac:spMk id="70" creationId="{B1B4380F-2213-49F1-A80F-85C2C55052DA}"/>
          </ac:spMkLst>
        </pc:spChg>
        <pc:spChg chg="mod">
          <ac:chgData name="Tereza Mendes" userId="bb2291e0-f53c-426c-bc7e-e6da289e7b4f" providerId="ADAL" clId="{4E2D14C3-4C81-4449-96AF-2D365022FBEF}" dt="2021-01-05T22:32:08.149" v="5994" actId="1038"/>
          <ac:spMkLst>
            <pc:docMk/>
            <pc:sldMk cId="4150128491" sldId="8809"/>
            <ac:spMk id="71" creationId="{E37BA5B6-5C66-412E-AC29-3B1D457B5961}"/>
          </ac:spMkLst>
        </pc:spChg>
        <pc:spChg chg="mod">
          <ac:chgData name="Tereza Mendes" userId="bb2291e0-f53c-426c-bc7e-e6da289e7b4f" providerId="ADAL" clId="{4E2D14C3-4C81-4449-96AF-2D365022FBEF}" dt="2021-01-05T22:32:01.788" v="5985" actId="20577"/>
          <ac:spMkLst>
            <pc:docMk/>
            <pc:sldMk cId="4150128491" sldId="8809"/>
            <ac:spMk id="72" creationId="{EEE4EBA0-DC80-47F3-BEDE-A27DC749CCC1}"/>
          </ac:spMkLst>
        </pc:spChg>
        <pc:spChg chg="mod">
          <ac:chgData name="Tereza Mendes" userId="bb2291e0-f53c-426c-bc7e-e6da289e7b4f" providerId="ADAL" clId="{4E2D14C3-4C81-4449-96AF-2D365022FBEF}" dt="2021-01-05T22:36:08.524" v="6278" actId="1038"/>
          <ac:spMkLst>
            <pc:docMk/>
            <pc:sldMk cId="4150128491" sldId="8809"/>
            <ac:spMk id="89" creationId="{D2307FC7-D054-493D-80B1-C7BD7907D6E2}"/>
          </ac:spMkLst>
        </pc:spChg>
        <pc:spChg chg="mod">
          <ac:chgData name="Tereza Mendes" userId="bb2291e0-f53c-426c-bc7e-e6da289e7b4f" providerId="ADAL" clId="{4E2D14C3-4C81-4449-96AF-2D365022FBEF}" dt="2021-01-05T22:36:04.459" v="6274" actId="1037"/>
          <ac:spMkLst>
            <pc:docMk/>
            <pc:sldMk cId="4150128491" sldId="8809"/>
            <ac:spMk id="91" creationId="{4FA65AE4-D46B-4AEF-B2F6-C6079E791ABE}"/>
          </ac:spMkLst>
        </pc:spChg>
        <pc:spChg chg="mod">
          <ac:chgData name="Tereza Mendes" userId="bb2291e0-f53c-426c-bc7e-e6da289e7b4f" providerId="ADAL" clId="{4E2D14C3-4C81-4449-96AF-2D365022FBEF}" dt="2021-01-08T20:50:18.461" v="10745" actId="20577"/>
          <ac:spMkLst>
            <pc:docMk/>
            <pc:sldMk cId="4150128491" sldId="8809"/>
            <ac:spMk id="103" creationId="{9608D6E0-B8A5-4185-A03B-C95AA334ABA6}"/>
          </ac:spMkLst>
        </pc:spChg>
        <pc:grpChg chg="mod">
          <ac:chgData name="Tereza Mendes" userId="bb2291e0-f53c-426c-bc7e-e6da289e7b4f" providerId="ADAL" clId="{4E2D14C3-4C81-4449-96AF-2D365022FBEF}" dt="2021-01-05T22:32:40.842" v="6072" actId="1036"/>
          <ac:grpSpMkLst>
            <pc:docMk/>
            <pc:sldMk cId="4150128491" sldId="8809"/>
            <ac:grpSpMk id="69" creationId="{68677E4F-5B57-45D9-AE3F-251ED7B72D48}"/>
          </ac:grpSpMkLst>
        </pc:grpChg>
        <pc:grpChg chg="mod">
          <ac:chgData name="Tereza Mendes" userId="bb2291e0-f53c-426c-bc7e-e6da289e7b4f" providerId="ADAL" clId="{4E2D14C3-4C81-4449-96AF-2D365022FBEF}" dt="2021-01-05T22:32:37.601" v="6068" actId="1037"/>
          <ac:grpSpMkLst>
            <pc:docMk/>
            <pc:sldMk cId="4150128491" sldId="8809"/>
            <ac:grpSpMk id="73" creationId="{27248AF2-6282-4577-9933-104982005542}"/>
          </ac:grpSpMkLst>
        </pc:grpChg>
        <pc:grpChg chg="add mod">
          <ac:chgData name="Tereza Mendes" userId="bb2291e0-f53c-426c-bc7e-e6da289e7b4f" providerId="ADAL" clId="{4E2D14C3-4C81-4449-96AF-2D365022FBEF}" dt="2021-01-08T20:50:28.688" v="10746" actId="1076"/>
          <ac:grpSpMkLst>
            <pc:docMk/>
            <pc:sldMk cId="4150128491" sldId="8809"/>
            <ac:grpSpMk id="92" creationId="{BCB397FA-4004-4206-AFE1-8B31C6D50C06}"/>
          </ac:grpSpMkLst>
        </pc:grpChg>
        <pc:graphicFrameChg chg="mod modGraphic">
          <ac:chgData name="Tereza Mendes" userId="bb2291e0-f53c-426c-bc7e-e6da289e7b4f" providerId="ADAL" clId="{4E2D14C3-4C81-4449-96AF-2D365022FBEF}" dt="2021-01-08T21:56:33.970" v="10946" actId="20577"/>
          <ac:graphicFrameMkLst>
            <pc:docMk/>
            <pc:sldMk cId="4150128491" sldId="8809"/>
            <ac:graphicFrameMk id="7" creationId="{16CB7E22-3BAD-4002-B248-E208A823C213}"/>
          </ac:graphicFrameMkLst>
        </pc:graphicFrameChg>
      </pc:sldChg>
      <pc:sldChg chg="addSp delSp modSp add del ord modTransition">
        <pc:chgData name="Tereza Mendes" userId="bb2291e0-f53c-426c-bc7e-e6da289e7b4f" providerId="ADAL" clId="{4E2D14C3-4C81-4449-96AF-2D365022FBEF}" dt="2021-01-06T22:02:40.039" v="10537" actId="2696"/>
        <pc:sldMkLst>
          <pc:docMk/>
          <pc:sldMk cId="444234348" sldId="8810"/>
        </pc:sldMkLst>
        <pc:spChg chg="mod">
          <ac:chgData name="Tereza Mendes" userId="bb2291e0-f53c-426c-bc7e-e6da289e7b4f" providerId="ADAL" clId="{4E2D14C3-4C81-4449-96AF-2D365022FBEF}" dt="2021-01-05T22:44:50.477" v="6565" actId="20577"/>
          <ac:spMkLst>
            <pc:docMk/>
            <pc:sldMk cId="444234348" sldId="8810"/>
            <ac:spMk id="2" creationId="{E4065686-F7E1-4579-8528-CCDA6A8807B3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17" creationId="{EE9A4875-21A8-4E08-9778-FECEDED0A2AF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18" creationId="{F5324C2C-CCBC-477E-84A9-702970A4CF72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19" creationId="{77B30FFB-986A-43D4-96A5-644C11DCABA1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23" creationId="{9B09B1FB-7F54-4443-B5E4-EC261230603C}"/>
          </ac:spMkLst>
        </pc:spChg>
        <pc:spChg chg="del">
          <ac:chgData name="Tereza Mendes" userId="bb2291e0-f53c-426c-bc7e-e6da289e7b4f" providerId="ADAL" clId="{4E2D14C3-4C81-4449-96AF-2D365022FBEF}" dt="2021-01-05T22:46:19.226" v="6595" actId="478"/>
          <ac:spMkLst>
            <pc:docMk/>
            <pc:sldMk cId="444234348" sldId="8810"/>
            <ac:spMk id="24" creationId="{D1454E9C-AFC1-4492-841F-06D47B245A54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26" creationId="{2E2C6C24-6C33-4180-A0CC-8A87240D6EF5}"/>
          </ac:spMkLst>
        </pc:spChg>
        <pc:spChg chg="add mod">
          <ac:chgData name="Tereza Mendes" userId="bb2291e0-f53c-426c-bc7e-e6da289e7b4f" providerId="ADAL" clId="{4E2D14C3-4C81-4449-96AF-2D365022FBEF}" dt="2021-01-06T16:41:57.817" v="8129" actId="20577"/>
          <ac:spMkLst>
            <pc:docMk/>
            <pc:sldMk cId="444234348" sldId="8810"/>
            <ac:spMk id="27" creationId="{35F7D3E9-9C7D-40F6-8BAC-4FDFF2A8BCF8}"/>
          </ac:spMkLst>
        </pc:spChg>
        <pc:spChg chg="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28" creationId="{43EF244A-989A-41BE-8A10-D7D81C97A499}"/>
          </ac:spMkLst>
        </pc:spChg>
        <pc:spChg chg="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29" creationId="{6DEB75ED-3F21-47BC-B782-280AAF0E5CF5}"/>
          </ac:spMkLst>
        </pc:spChg>
        <pc:spChg chg="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0" creationId="{F6B2B1DC-FE35-4C3A-B13C-3F9547476AAB}"/>
          </ac:spMkLst>
        </pc:spChg>
        <pc:spChg chg="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1" creationId="{2174E688-2A04-43BC-832C-2A4850D8F0B6}"/>
          </ac:spMkLst>
        </pc:spChg>
        <pc:spChg chg="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2" creationId="{2709AE52-0BAE-4513-AE9E-4D222DF8A151}"/>
          </ac:spMkLst>
        </pc:spChg>
        <pc:spChg chg="del">
          <ac:chgData name="Tereza Mendes" userId="bb2291e0-f53c-426c-bc7e-e6da289e7b4f" providerId="ADAL" clId="{4E2D14C3-4C81-4449-96AF-2D365022FBEF}" dt="2021-01-05T22:45:53.569" v="6566" actId="478"/>
          <ac:spMkLst>
            <pc:docMk/>
            <pc:sldMk cId="444234348" sldId="8810"/>
            <ac:spMk id="34" creationId="{13B98DAC-4356-4A9A-BD8C-4EAF68F258AD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4" creationId="{4A9E84DA-BFCC-4AE9-903E-0A506961ADBC}"/>
          </ac:spMkLst>
        </pc:spChg>
        <pc:spChg chg="del">
          <ac:chgData name="Tereza Mendes" userId="bb2291e0-f53c-426c-bc7e-e6da289e7b4f" providerId="ADAL" clId="{4E2D14C3-4C81-4449-96AF-2D365022FBEF}" dt="2021-01-05T22:46:19.226" v="6595" actId="478"/>
          <ac:spMkLst>
            <pc:docMk/>
            <pc:sldMk cId="444234348" sldId="8810"/>
            <ac:spMk id="35" creationId="{1706A8F9-E956-4CAC-BE2F-4C652246BE32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5" creationId="{26FAB536-3654-4F0D-9005-E6D035C7F15A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6" creationId="{6D85D66F-5C0D-4C76-B0FA-FFE09E74CCD9}"/>
          </ac:spMkLst>
        </pc:spChg>
        <pc:spChg chg="del">
          <ac:chgData name="Tereza Mendes" userId="bb2291e0-f53c-426c-bc7e-e6da289e7b4f" providerId="ADAL" clId="{4E2D14C3-4C81-4449-96AF-2D365022FBEF}" dt="2021-01-05T22:46:19.226" v="6595" actId="478"/>
          <ac:spMkLst>
            <pc:docMk/>
            <pc:sldMk cId="444234348" sldId="8810"/>
            <ac:spMk id="36" creationId="{72EB498C-A1FD-4F6E-8930-44745C15D023}"/>
          </ac:spMkLst>
        </pc:spChg>
        <pc:spChg chg="del mod">
          <ac:chgData name="Tereza Mendes" userId="bb2291e0-f53c-426c-bc7e-e6da289e7b4f" providerId="ADAL" clId="{4E2D14C3-4C81-4449-96AF-2D365022FBEF}" dt="2021-01-06T14:26:14.567" v="7016" actId="478"/>
          <ac:spMkLst>
            <pc:docMk/>
            <pc:sldMk cId="444234348" sldId="8810"/>
            <ac:spMk id="37" creationId="{F127FB0D-74F6-4ED0-A165-196997C310E3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38" creationId="{3D7600C0-FBB5-4A12-A19F-2F84FCAC2270}"/>
          </ac:spMkLst>
        </pc:spChg>
        <pc:spChg chg="del">
          <ac:chgData name="Tereza Mendes" userId="bb2291e0-f53c-426c-bc7e-e6da289e7b4f" providerId="ADAL" clId="{4E2D14C3-4C81-4449-96AF-2D365022FBEF}" dt="2021-01-05T22:46:21.714" v="6596" actId="478"/>
          <ac:spMkLst>
            <pc:docMk/>
            <pc:sldMk cId="444234348" sldId="8810"/>
            <ac:spMk id="38" creationId="{55C5EEAF-63B8-4762-A3EB-9A151742638D}"/>
          </ac:spMkLst>
        </pc:spChg>
        <pc:spChg chg="del mod">
          <ac:chgData name="Tereza Mendes" userId="bb2291e0-f53c-426c-bc7e-e6da289e7b4f" providerId="ADAL" clId="{4E2D14C3-4C81-4449-96AF-2D365022FBEF}" dt="2021-01-06T14:26:14.567" v="7016" actId="478"/>
          <ac:spMkLst>
            <pc:docMk/>
            <pc:sldMk cId="444234348" sldId="8810"/>
            <ac:spMk id="39" creationId="{40646488-1C4B-4498-B25A-37A2CFBFDC65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0" creationId="{43039024-41ED-4BC6-BE2A-E04064E8AFAA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1" creationId="{0214FF66-6B48-4006-AA8A-FD986CE8749C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2" creationId="{0C306BA0-CA91-47B1-9B15-E9B8E95E3C37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3" creationId="{8C551A24-3FE1-4424-AD8A-928E480F41ED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44" creationId="{393ACC8F-9FD8-433D-9C7B-2ED25C59A8D5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5" creationId="{03563A7B-660E-4876-8405-A2D49889465B}"/>
          </ac:spMkLst>
        </pc:spChg>
        <pc:spChg chg="mod">
          <ac:chgData name="Tereza Mendes" userId="bb2291e0-f53c-426c-bc7e-e6da289e7b4f" providerId="ADAL" clId="{4E2D14C3-4C81-4449-96AF-2D365022FBEF}" dt="2021-01-06T18:05:16.219" v="9250" actId="20577"/>
          <ac:spMkLst>
            <pc:docMk/>
            <pc:sldMk cId="444234348" sldId="8810"/>
            <ac:spMk id="46" creationId="{346080FC-74B7-4F15-A023-BD28959E5989}"/>
          </ac:spMkLst>
        </pc:spChg>
        <pc:spChg chg="add del mod">
          <ac:chgData name="Tereza Mendes" userId="bb2291e0-f53c-426c-bc7e-e6da289e7b4f" providerId="ADAL" clId="{4E2D14C3-4C81-4449-96AF-2D365022FBEF}" dt="2021-01-06T15:17:31.778" v="7556" actId="478"/>
          <ac:spMkLst>
            <pc:docMk/>
            <pc:sldMk cId="444234348" sldId="8810"/>
            <ac:spMk id="47" creationId="{E9E5E574-141F-43A0-990E-D948A7EA0944}"/>
          </ac:spMkLst>
        </pc:spChg>
        <pc:spChg chg="add del">
          <ac:chgData name="Tereza Mendes" userId="bb2291e0-f53c-426c-bc7e-e6da289e7b4f" providerId="ADAL" clId="{4E2D14C3-4C81-4449-96AF-2D365022FBEF}" dt="2021-01-06T14:32:47.774" v="7128" actId="478"/>
          <ac:spMkLst>
            <pc:docMk/>
            <pc:sldMk cId="444234348" sldId="8810"/>
            <ac:spMk id="48" creationId="{4D775E84-C42E-49D4-B9B5-1C5A62D6D1FA}"/>
          </ac:spMkLst>
        </pc:spChg>
        <pc:spChg chg="add del">
          <ac:chgData name="Tereza Mendes" userId="bb2291e0-f53c-426c-bc7e-e6da289e7b4f" providerId="ADAL" clId="{4E2D14C3-4C81-4449-96AF-2D365022FBEF}" dt="2021-01-06T14:32:47.774" v="7128" actId="478"/>
          <ac:spMkLst>
            <pc:docMk/>
            <pc:sldMk cId="444234348" sldId="8810"/>
            <ac:spMk id="49" creationId="{DCF6CA44-8222-4EA0-8C3B-AE56D82E164F}"/>
          </ac:spMkLst>
        </pc:spChg>
        <pc:spChg chg="add del mod">
          <ac:chgData name="Tereza Mendes" userId="bb2291e0-f53c-426c-bc7e-e6da289e7b4f" providerId="ADAL" clId="{4E2D14C3-4C81-4449-96AF-2D365022FBEF}" dt="2021-01-06T15:10:10.126" v="7219" actId="478"/>
          <ac:spMkLst>
            <pc:docMk/>
            <pc:sldMk cId="444234348" sldId="8810"/>
            <ac:spMk id="50" creationId="{CCC15112-067F-44A4-A4FE-1DE1A9C960FC}"/>
          </ac:spMkLst>
        </pc:spChg>
        <pc:spChg chg="add del mod">
          <ac:chgData name="Tereza Mendes" userId="bb2291e0-f53c-426c-bc7e-e6da289e7b4f" providerId="ADAL" clId="{4E2D14C3-4C81-4449-96AF-2D365022FBEF}" dt="2021-01-06T15:10:57.562" v="7227" actId="478"/>
          <ac:spMkLst>
            <pc:docMk/>
            <pc:sldMk cId="444234348" sldId="8810"/>
            <ac:spMk id="51" creationId="{4AB9C243-41E2-4C54-9786-EBB87D7203D2}"/>
          </ac:spMkLst>
        </pc:spChg>
        <pc:spChg chg="add del mod">
          <ac:chgData name="Tereza Mendes" userId="bb2291e0-f53c-426c-bc7e-e6da289e7b4f" providerId="ADAL" clId="{4E2D14C3-4C81-4449-96AF-2D365022FBEF}" dt="2021-01-06T15:10:57.562" v="7227" actId="478"/>
          <ac:spMkLst>
            <pc:docMk/>
            <pc:sldMk cId="444234348" sldId="8810"/>
            <ac:spMk id="52" creationId="{6D74E875-5F0C-4F81-BB09-C7234B6A7C75}"/>
          </ac:spMkLst>
        </pc:spChg>
        <pc:spChg chg="add del mod">
          <ac:chgData name="Tereza Mendes" userId="bb2291e0-f53c-426c-bc7e-e6da289e7b4f" providerId="ADAL" clId="{4E2D14C3-4C81-4449-96AF-2D365022FBEF}" dt="2021-01-06T15:10:59.950" v="7228" actId="478"/>
          <ac:spMkLst>
            <pc:docMk/>
            <pc:sldMk cId="444234348" sldId="8810"/>
            <ac:spMk id="53" creationId="{8B7B903F-78D0-4AE9-B5C3-BD74767F2EF3}"/>
          </ac:spMkLst>
        </pc:spChg>
        <pc:spChg chg="del">
          <ac:chgData name="Tereza Mendes" userId="bb2291e0-f53c-426c-bc7e-e6da289e7b4f" providerId="ADAL" clId="{4E2D14C3-4C81-4449-96AF-2D365022FBEF}" dt="2021-01-05T22:45:55.869" v="6567" actId="478"/>
          <ac:spMkLst>
            <pc:docMk/>
            <pc:sldMk cId="444234348" sldId="8810"/>
            <ac:spMk id="53" creationId="{C73E747A-1880-440F-AE49-6908ACF21150}"/>
          </ac:spMkLst>
        </pc:spChg>
        <pc:spChg chg="del">
          <ac:chgData name="Tereza Mendes" userId="bb2291e0-f53c-426c-bc7e-e6da289e7b4f" providerId="ADAL" clId="{4E2D14C3-4C81-4449-96AF-2D365022FBEF}" dt="2021-01-05T22:46:34.757" v="6600" actId="478"/>
          <ac:spMkLst>
            <pc:docMk/>
            <pc:sldMk cId="444234348" sldId="8810"/>
            <ac:spMk id="54" creationId="{7E4D99E5-39B1-40C8-A4A9-4FECAE45CD77}"/>
          </ac:spMkLst>
        </pc:spChg>
        <pc:spChg chg="add del mod">
          <ac:chgData name="Tereza Mendes" userId="bb2291e0-f53c-426c-bc7e-e6da289e7b4f" providerId="ADAL" clId="{4E2D14C3-4C81-4449-96AF-2D365022FBEF}" dt="2021-01-06T15:10:59.950" v="7228" actId="478"/>
          <ac:spMkLst>
            <pc:docMk/>
            <pc:sldMk cId="444234348" sldId="8810"/>
            <ac:spMk id="54" creationId="{D0842FB9-7D74-40AF-929D-8A7420905EEE}"/>
          </ac:spMkLst>
        </pc:spChg>
        <pc:spChg chg="add del mod">
          <ac:chgData name="Tereza Mendes" userId="bb2291e0-f53c-426c-bc7e-e6da289e7b4f" providerId="ADAL" clId="{4E2D14C3-4C81-4449-96AF-2D365022FBEF}" dt="2021-01-06T15:11:01.483" v="7229" actId="478"/>
          <ac:spMkLst>
            <pc:docMk/>
            <pc:sldMk cId="444234348" sldId="8810"/>
            <ac:spMk id="55" creationId="{EE4DF2C5-7FF5-4541-9699-8E03CCDADF08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56" creationId="{0937C99F-7087-4FB0-98D0-DB2D96F1FEDC}"/>
          </ac:spMkLst>
        </pc:spChg>
        <pc:spChg chg="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57" creationId="{607DFE4D-0CF2-4D5C-B238-F45ED141D961}"/>
          </ac:spMkLst>
        </pc:spChg>
        <pc:spChg chg="add del mod">
          <ac:chgData name="Tereza Mendes" userId="bb2291e0-f53c-426c-bc7e-e6da289e7b4f" providerId="ADAL" clId="{4E2D14C3-4C81-4449-96AF-2D365022FBEF}" dt="2021-01-06T15:10:10.126" v="7219" actId="478"/>
          <ac:spMkLst>
            <pc:docMk/>
            <pc:sldMk cId="444234348" sldId="8810"/>
            <ac:spMk id="58" creationId="{B850DBC4-7933-41C9-B45B-90A1E4463ECA}"/>
          </ac:spMkLst>
        </pc:spChg>
        <pc:spChg chg="add del mod">
          <ac:chgData name="Tereza Mendes" userId="bb2291e0-f53c-426c-bc7e-e6da289e7b4f" providerId="ADAL" clId="{4E2D14C3-4C81-4449-96AF-2D365022FBEF}" dt="2021-01-06T15:10:57.562" v="7227" actId="478"/>
          <ac:spMkLst>
            <pc:docMk/>
            <pc:sldMk cId="444234348" sldId="8810"/>
            <ac:spMk id="59" creationId="{7EB488CB-DB7F-47F5-82FF-FEB14CD17B5B}"/>
          </ac:spMkLst>
        </pc:spChg>
        <pc:spChg chg="add del mod">
          <ac:chgData name="Tereza Mendes" userId="bb2291e0-f53c-426c-bc7e-e6da289e7b4f" providerId="ADAL" clId="{4E2D14C3-4C81-4449-96AF-2D365022FBEF}" dt="2021-01-06T15:10:57.562" v="7227" actId="478"/>
          <ac:spMkLst>
            <pc:docMk/>
            <pc:sldMk cId="444234348" sldId="8810"/>
            <ac:spMk id="60" creationId="{CEB4B4C8-20C8-472C-AC11-0024A0F26D35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1" creationId="{F509D0A0-7343-480C-8B03-7FBB961EA76C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2" creationId="{0204BD64-83DA-49F6-84F7-1B1E58ED01E2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3" creationId="{44AA5F87-AB15-48B6-8EBB-D65A81205A55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4" creationId="{E603DC79-925B-4DDD-83CC-2BB68651234F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5" creationId="{356D67B7-4175-41BD-8F6E-ADDAD3AF47ED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6" creationId="{0193F79A-66BB-4BAB-AC23-13A19CDCF3BC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7" creationId="{7E3071DE-A2D9-480B-91E3-8C46F616E649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8" creationId="{0C2CF502-3061-4A53-94C0-7AA3BD3356F9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69" creationId="{B9FE4F48-8A3B-47DB-A060-DACAB634292B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0" creationId="{9FB8BE57-8CE1-404F-A11D-6027FDE68ECD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1" creationId="{2A8B3D5F-6126-498D-867C-2FD7F96DCAF9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2" creationId="{7B4F4E26-044E-410C-8E24-7CE9E6956042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3" creationId="{65C74F9C-FDD9-4ECD-89C4-82304577B403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4" creationId="{DCDEE5CF-44D1-4996-9EF0-D94666EE72CA}"/>
          </ac:spMkLst>
        </pc:spChg>
        <pc:spChg chg="add del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5" creationId="{74913BB5-A723-437D-8E4B-B870A232CB79}"/>
          </ac:spMkLst>
        </pc:spChg>
        <pc:spChg chg="add mod">
          <ac:chgData name="Tereza Mendes" userId="bb2291e0-f53c-426c-bc7e-e6da289e7b4f" providerId="ADAL" clId="{4E2D14C3-4C81-4449-96AF-2D365022FBEF}" dt="2021-01-06T18:24:48.919" v="9373" actId="1038"/>
          <ac:spMkLst>
            <pc:docMk/>
            <pc:sldMk cId="444234348" sldId="8810"/>
            <ac:spMk id="76" creationId="{24494BE8-FFBD-4E5D-972A-66570E851CFE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77" creationId="{45FC18A7-7C4A-4BF4-8FD3-8110EEE9F60F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78" creationId="{894E653E-441C-49E6-982C-278930B2E5D3}"/>
          </ac:spMkLst>
        </pc:spChg>
        <pc:spChg chg="add del mod">
          <ac:chgData name="Tereza Mendes" userId="bb2291e0-f53c-426c-bc7e-e6da289e7b4f" providerId="ADAL" clId="{4E2D14C3-4C81-4449-96AF-2D365022FBEF}" dt="2021-01-06T16:51:18.580" v="8155" actId="478"/>
          <ac:spMkLst>
            <pc:docMk/>
            <pc:sldMk cId="444234348" sldId="8810"/>
            <ac:spMk id="79" creationId="{8FC3E1AD-A5A7-4A9C-B68C-024179593E28}"/>
          </ac:spMkLst>
        </pc:spChg>
        <pc:spChg chg="add del mod">
          <ac:chgData name="Tereza Mendes" userId="bb2291e0-f53c-426c-bc7e-e6da289e7b4f" providerId="ADAL" clId="{4E2D14C3-4C81-4449-96AF-2D365022FBEF}" dt="2021-01-06T16:51:18.580" v="8155" actId="478"/>
          <ac:spMkLst>
            <pc:docMk/>
            <pc:sldMk cId="444234348" sldId="8810"/>
            <ac:spMk id="80" creationId="{726827AD-D744-41A6-BB3F-891D75442B49}"/>
          </ac:spMkLst>
        </pc:spChg>
        <pc:spChg chg="add mod">
          <ac:chgData name="Tereza Mendes" userId="bb2291e0-f53c-426c-bc7e-e6da289e7b4f" providerId="ADAL" clId="{4E2D14C3-4C81-4449-96AF-2D365022FBEF}" dt="2021-01-06T18:05:06.827" v="9249" actId="1036"/>
          <ac:spMkLst>
            <pc:docMk/>
            <pc:sldMk cId="444234348" sldId="8810"/>
            <ac:spMk id="81" creationId="{68998846-9970-4EF8-927C-C2F2C2EDAFCE}"/>
          </ac:spMkLst>
        </pc:spChg>
        <pc:graphicFrameChg chg="del">
          <ac:chgData name="Tereza Mendes" userId="bb2291e0-f53c-426c-bc7e-e6da289e7b4f" providerId="ADAL" clId="{4E2D14C3-4C81-4449-96AF-2D365022FBEF}" dt="2021-01-05T22:45:55.869" v="6567" actId="478"/>
          <ac:graphicFrameMkLst>
            <pc:docMk/>
            <pc:sldMk cId="444234348" sldId="8810"/>
            <ac:graphicFrameMk id="51" creationId="{73AF6B9E-17FF-4363-BDE7-369DD67BBDFE}"/>
          </ac:graphicFrameMkLst>
        </pc:graphicFrameChg>
        <pc:cxnChg chg="mod">
          <ac:chgData name="Tereza Mendes" userId="bb2291e0-f53c-426c-bc7e-e6da289e7b4f" providerId="ADAL" clId="{4E2D14C3-4C81-4449-96AF-2D365022FBEF}" dt="2021-01-06T18:05:06.827" v="9249" actId="1036"/>
          <ac:cxnSpMkLst>
            <pc:docMk/>
            <pc:sldMk cId="444234348" sldId="8810"/>
            <ac:cxnSpMk id="33" creationId="{272E2B38-0DD7-443D-B894-6EC5DD4C6D5A}"/>
          </ac:cxnSpMkLst>
        </pc:cxnChg>
      </pc:sldChg>
      <pc:sldChg chg="addSp delSp modSp add del ord modTransition">
        <pc:chgData name="Tereza Mendes" userId="bb2291e0-f53c-426c-bc7e-e6da289e7b4f" providerId="ADAL" clId="{4E2D14C3-4C81-4449-96AF-2D365022FBEF}" dt="2021-01-06T22:16:44.183" v="10590" actId="2696"/>
        <pc:sldMkLst>
          <pc:docMk/>
          <pc:sldMk cId="3220214725" sldId="8811"/>
        </pc:sldMkLst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17" creationId="{EE9A4875-21A8-4E08-9778-FECEDED0A2AF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18" creationId="{F5324C2C-CCBC-477E-84A9-702970A4CF72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19" creationId="{77B30FFB-986A-43D4-96A5-644C11DCABA1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23" creationId="{9B09B1FB-7F54-4443-B5E4-EC261230603C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26" creationId="{2E2C6C24-6C33-4180-A0CC-8A87240D6EF5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28" creationId="{43EF244A-989A-41BE-8A10-D7D81C97A499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29" creationId="{6DEB75ED-3F21-47BC-B782-280AAF0E5CF5}"/>
          </ac:spMkLst>
        </pc:spChg>
        <pc:spChg chg="add del mod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0" creationId="{F6B2B1DC-FE35-4C3A-B13C-3F9547476AAB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1" creationId="{2174E688-2A04-43BC-832C-2A4850D8F0B6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2" creationId="{2709AE52-0BAE-4513-AE9E-4D222DF8A151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4" creationId="{4A9E84DA-BFCC-4AE9-903E-0A506961ADBC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5" creationId="{26FAB536-3654-4F0D-9005-E6D035C7F15A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6" creationId="{6D85D66F-5C0D-4C76-B0FA-FFE09E74CCD9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38" creationId="{3D7600C0-FBB5-4A12-A19F-2F84FCAC2270}"/>
          </ac:spMkLst>
        </pc:spChg>
        <pc:spChg chg="add del">
          <ac:chgData name="Tereza Mendes" userId="bb2291e0-f53c-426c-bc7e-e6da289e7b4f" providerId="ADAL" clId="{4E2D14C3-4C81-4449-96AF-2D365022FBEF}" dt="2021-01-06T16:52:22.981" v="8187"/>
          <ac:spMkLst>
            <pc:docMk/>
            <pc:sldMk cId="3220214725" sldId="8811"/>
            <ac:spMk id="41" creationId="{7B10CFE9-D4AC-433F-9DB3-2A39913CC7F6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42" creationId="{B2E718F3-6C66-4EC1-B856-CD1ECA0F97F6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43" creationId="{10E8F298-2FEF-4E08-A218-C05ED9E304CD}"/>
          </ac:spMkLst>
        </pc:spChg>
        <pc:spChg chg="mod">
          <ac:chgData name="Tereza Mendes" userId="bb2291e0-f53c-426c-bc7e-e6da289e7b4f" providerId="ADAL" clId="{4E2D14C3-4C81-4449-96AF-2D365022FBEF}" dt="2021-01-06T18:40:19.294" v="9501" actId="1035"/>
          <ac:spMkLst>
            <pc:docMk/>
            <pc:sldMk cId="3220214725" sldId="8811"/>
            <ac:spMk id="44" creationId="{393ACC8F-9FD8-433D-9C7B-2ED25C59A8D5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45" creationId="{270ED21D-61DE-40D6-98D9-71739F1F6841}"/>
          </ac:spMkLst>
        </pc:spChg>
        <pc:spChg chg="mod">
          <ac:chgData name="Tereza Mendes" userId="bb2291e0-f53c-426c-bc7e-e6da289e7b4f" providerId="ADAL" clId="{4E2D14C3-4C81-4449-96AF-2D365022FBEF}" dt="2021-01-06T19:08:07.018" v="10174" actId="1036"/>
          <ac:spMkLst>
            <pc:docMk/>
            <pc:sldMk cId="3220214725" sldId="8811"/>
            <ac:spMk id="46" creationId="{346080FC-74B7-4F15-A023-BD28959E5989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47" creationId="{66192F3F-CD4A-4D33-9828-44720750008C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48" creationId="{CD883FB0-0C76-48A8-BB78-9DC5818B043C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0" creationId="{6F0B9857-A609-47B1-83D1-C19F12FE7AF9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1" creationId="{A93BB5B1-E2AC-48B3-BFC6-B85BF5BF3EEC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2" creationId="{6E50EAAB-C2AF-4E4D-8DF2-190F69D2E642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3" creationId="{0477C236-677B-4B6F-96F4-337015D039F2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4" creationId="{5842E78F-701E-4CE0-BC97-5C3E2D406686}"/>
          </ac:spMkLst>
        </pc:spChg>
        <pc:spChg chg="add mod">
          <ac:chgData name="Tereza Mendes" userId="bb2291e0-f53c-426c-bc7e-e6da289e7b4f" providerId="ADAL" clId="{4E2D14C3-4C81-4449-96AF-2D365022FBEF}" dt="2021-01-06T18:40:23.911" v="9511" actId="1035"/>
          <ac:spMkLst>
            <pc:docMk/>
            <pc:sldMk cId="3220214725" sldId="8811"/>
            <ac:spMk id="55" creationId="{6A3D8DD4-5506-456B-BA2D-3284DCA50580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56" creationId="{0937C99F-7087-4FB0-98D0-DB2D96F1FEDC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57" creationId="{607DFE4D-0CF2-4D5C-B238-F45ED141D961}"/>
          </ac:spMkLst>
        </pc:spChg>
        <pc:spChg chg="add">
          <ac:chgData name="Tereza Mendes" userId="bb2291e0-f53c-426c-bc7e-e6da289e7b4f" providerId="ADAL" clId="{4E2D14C3-4C81-4449-96AF-2D365022FBEF}" dt="2021-01-06T18:09:26.392" v="9252"/>
          <ac:spMkLst>
            <pc:docMk/>
            <pc:sldMk cId="3220214725" sldId="8811"/>
            <ac:spMk id="58" creationId="{98D51330-DF88-4906-8173-4CE32E6A140E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61" creationId="{F509D0A0-7343-480C-8B03-7FBB961EA76C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62" creationId="{0204BD64-83DA-49F6-84F7-1B1E58ED01E2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63" creationId="{44AA5F87-AB15-48B6-8EBB-D65A81205A55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64" creationId="{E603DC79-925B-4DDD-83CC-2BB68651234F}"/>
          </ac:spMkLst>
        </pc:spChg>
        <pc:spChg chg="mod">
          <ac:chgData name="Tereza Mendes" userId="bb2291e0-f53c-426c-bc7e-e6da289e7b4f" providerId="ADAL" clId="{4E2D14C3-4C81-4449-96AF-2D365022FBEF}" dt="2021-01-06T19:05:01.482" v="9992" actId="14100"/>
          <ac:spMkLst>
            <pc:docMk/>
            <pc:sldMk cId="3220214725" sldId="8811"/>
            <ac:spMk id="65" creationId="{356D67B7-4175-41BD-8F6E-ADDAD3AF47ED}"/>
          </ac:spMkLst>
        </pc:spChg>
        <pc:spChg chg="mod">
          <ac:chgData name="Tereza Mendes" userId="bb2291e0-f53c-426c-bc7e-e6da289e7b4f" providerId="ADAL" clId="{4E2D14C3-4C81-4449-96AF-2D365022FBEF}" dt="2021-01-06T18:40:19.294" v="9501" actId="1035"/>
          <ac:spMkLst>
            <pc:docMk/>
            <pc:sldMk cId="3220214725" sldId="8811"/>
            <ac:spMk id="66" creationId="{0193F79A-66BB-4BAB-AC23-13A19CDCF3BC}"/>
          </ac:spMkLst>
        </pc:spChg>
        <pc:spChg chg="mod">
          <ac:chgData name="Tereza Mendes" userId="bb2291e0-f53c-426c-bc7e-e6da289e7b4f" providerId="ADAL" clId="{4E2D14C3-4C81-4449-96AF-2D365022FBEF}" dt="2021-01-06T18:40:19.294" v="9501" actId="1035"/>
          <ac:spMkLst>
            <pc:docMk/>
            <pc:sldMk cId="3220214725" sldId="8811"/>
            <ac:spMk id="67" creationId="{7E3071DE-A2D9-480B-91E3-8C46F616E649}"/>
          </ac:spMkLst>
        </pc:spChg>
        <pc:spChg chg="mod">
          <ac:chgData name="Tereza Mendes" userId="bb2291e0-f53c-426c-bc7e-e6da289e7b4f" providerId="ADAL" clId="{4E2D14C3-4C81-4449-96AF-2D365022FBEF}" dt="2021-01-06T19:09:10.405" v="10198" actId="1035"/>
          <ac:spMkLst>
            <pc:docMk/>
            <pc:sldMk cId="3220214725" sldId="8811"/>
            <ac:spMk id="68" creationId="{0C2CF502-3061-4A53-94C0-7AA3BD3356F9}"/>
          </ac:spMkLst>
        </pc:spChg>
        <pc:spChg chg="mod">
          <ac:chgData name="Tereza Mendes" userId="bb2291e0-f53c-426c-bc7e-e6da289e7b4f" providerId="ADAL" clId="{4E2D14C3-4C81-4449-96AF-2D365022FBEF}" dt="2021-01-06T19:09:10.405" v="10198" actId="1035"/>
          <ac:spMkLst>
            <pc:docMk/>
            <pc:sldMk cId="3220214725" sldId="8811"/>
            <ac:spMk id="69" creationId="{B9FE4F48-8A3B-47DB-A060-DACAB634292B}"/>
          </ac:spMkLst>
        </pc:spChg>
        <pc:spChg chg="mod">
          <ac:chgData name="Tereza Mendes" userId="bb2291e0-f53c-426c-bc7e-e6da289e7b4f" providerId="ADAL" clId="{4E2D14C3-4C81-4449-96AF-2D365022FBEF}" dt="2021-01-06T18:52:44.374" v="9655" actId="1037"/>
          <ac:spMkLst>
            <pc:docMk/>
            <pc:sldMk cId="3220214725" sldId="8811"/>
            <ac:spMk id="70" creationId="{9FB8BE57-8CE1-404F-A11D-6027FDE68ECD}"/>
          </ac:spMkLst>
        </pc:spChg>
        <pc:spChg chg="mod">
          <ac:chgData name="Tereza Mendes" userId="bb2291e0-f53c-426c-bc7e-e6da289e7b4f" providerId="ADAL" clId="{4E2D14C3-4C81-4449-96AF-2D365022FBEF}" dt="2021-01-06T18:40:19.294" v="9501" actId="1035"/>
          <ac:spMkLst>
            <pc:docMk/>
            <pc:sldMk cId="3220214725" sldId="8811"/>
            <ac:spMk id="71" creationId="{2A8B3D5F-6126-498D-867C-2FD7F96DCAF9}"/>
          </ac:spMkLst>
        </pc:spChg>
        <pc:spChg chg="mod">
          <ac:chgData name="Tereza Mendes" userId="bb2291e0-f53c-426c-bc7e-e6da289e7b4f" providerId="ADAL" clId="{4E2D14C3-4C81-4449-96AF-2D365022FBEF}" dt="2021-01-06T19:09:10.405" v="10198" actId="1035"/>
          <ac:spMkLst>
            <pc:docMk/>
            <pc:sldMk cId="3220214725" sldId="8811"/>
            <ac:spMk id="72" creationId="{7B4F4E26-044E-410C-8E24-7CE9E6956042}"/>
          </ac:spMkLst>
        </pc:spChg>
        <pc:spChg chg="mod">
          <ac:chgData name="Tereza Mendes" userId="bb2291e0-f53c-426c-bc7e-e6da289e7b4f" providerId="ADAL" clId="{4E2D14C3-4C81-4449-96AF-2D365022FBEF}" dt="2021-01-06T18:40:19.294" v="9501" actId="1035"/>
          <ac:spMkLst>
            <pc:docMk/>
            <pc:sldMk cId="3220214725" sldId="8811"/>
            <ac:spMk id="73" creationId="{65C74F9C-FDD9-4ECD-89C4-82304577B403}"/>
          </ac:spMkLst>
        </pc:spChg>
        <pc:spChg chg="mod">
          <ac:chgData name="Tereza Mendes" userId="bb2291e0-f53c-426c-bc7e-e6da289e7b4f" providerId="ADAL" clId="{4E2D14C3-4C81-4449-96AF-2D365022FBEF}" dt="2021-01-06T19:09:10.405" v="10198" actId="1035"/>
          <ac:spMkLst>
            <pc:docMk/>
            <pc:sldMk cId="3220214725" sldId="8811"/>
            <ac:spMk id="74" creationId="{DCDEE5CF-44D1-4996-9EF0-D94666EE72CA}"/>
          </ac:spMkLst>
        </pc:spChg>
        <pc:spChg chg="mod">
          <ac:chgData name="Tereza Mendes" userId="bb2291e0-f53c-426c-bc7e-e6da289e7b4f" providerId="ADAL" clId="{4E2D14C3-4C81-4449-96AF-2D365022FBEF}" dt="2021-01-06T19:04:55.657" v="9989" actId="1037"/>
          <ac:spMkLst>
            <pc:docMk/>
            <pc:sldMk cId="3220214725" sldId="8811"/>
            <ac:spMk id="75" creationId="{74913BB5-A723-437D-8E4B-B870A232CB79}"/>
          </ac:spMkLst>
        </pc:spChg>
        <pc:spChg chg="mod">
          <ac:chgData name="Tereza Mendes" userId="bb2291e0-f53c-426c-bc7e-e6da289e7b4f" providerId="ADAL" clId="{4E2D14C3-4C81-4449-96AF-2D365022FBEF}" dt="2021-01-06T19:09:14.011" v="10201" actId="1035"/>
          <ac:spMkLst>
            <pc:docMk/>
            <pc:sldMk cId="3220214725" sldId="8811"/>
            <ac:spMk id="76" creationId="{24494BE8-FFBD-4E5D-972A-66570E851CFE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77" creationId="{45FC18A7-7C4A-4BF4-8FD3-8110EEE9F60F}"/>
          </ac:spMkLst>
        </pc:spChg>
        <pc:spChg chg="add del">
          <ac:chgData name="Tereza Mendes" userId="bb2291e0-f53c-426c-bc7e-e6da289e7b4f" providerId="ADAL" clId="{4E2D14C3-4C81-4449-96AF-2D365022FBEF}" dt="2021-01-06T18:09:58.022" v="9290" actId="478"/>
          <ac:spMkLst>
            <pc:docMk/>
            <pc:sldMk cId="3220214725" sldId="8811"/>
            <ac:spMk id="78" creationId="{894E653E-441C-49E6-982C-278930B2E5D3}"/>
          </ac:spMkLst>
        </pc:spChg>
        <pc:spChg chg="add del mod">
          <ac:chgData name="Tereza Mendes" userId="bb2291e0-f53c-426c-bc7e-e6da289e7b4f" providerId="ADAL" clId="{4E2D14C3-4C81-4449-96AF-2D365022FBEF}" dt="2021-01-06T19:09:24.179" v="10202" actId="478"/>
          <ac:spMkLst>
            <pc:docMk/>
            <pc:sldMk cId="3220214725" sldId="8811"/>
            <ac:spMk id="80" creationId="{4D7B4C9B-0551-4067-943E-C5F686D1AD50}"/>
          </ac:spMkLst>
        </pc:spChg>
        <pc:spChg chg="mod">
          <ac:chgData name="Tereza Mendes" userId="bb2291e0-f53c-426c-bc7e-e6da289e7b4f" providerId="ADAL" clId="{4E2D14C3-4C81-4449-96AF-2D365022FBEF}" dt="2021-01-06T19:05:22.528" v="10020" actId="20577"/>
          <ac:spMkLst>
            <pc:docMk/>
            <pc:sldMk cId="3220214725" sldId="8811"/>
            <ac:spMk id="83" creationId="{1928AF99-DCA7-4C2A-9375-3A65E7FFE0B6}"/>
          </ac:spMkLst>
        </pc:spChg>
        <pc:spChg chg="mod">
          <ac:chgData name="Tereza Mendes" userId="bb2291e0-f53c-426c-bc7e-e6da289e7b4f" providerId="ADAL" clId="{4E2D14C3-4C81-4449-96AF-2D365022FBEF}" dt="2021-01-06T19:05:16.316" v="9995" actId="20577"/>
          <ac:spMkLst>
            <pc:docMk/>
            <pc:sldMk cId="3220214725" sldId="8811"/>
            <ac:spMk id="84" creationId="{2E9A2CCC-BB87-41B7-91CF-FFA4E001449A}"/>
          </ac:spMkLst>
        </pc:spChg>
        <pc:spChg chg="mod">
          <ac:chgData name="Tereza Mendes" userId="bb2291e0-f53c-426c-bc7e-e6da289e7b4f" providerId="ADAL" clId="{4E2D14C3-4C81-4449-96AF-2D365022FBEF}" dt="2021-01-06T19:07:07.207" v="10063" actId="14100"/>
          <ac:spMkLst>
            <pc:docMk/>
            <pc:sldMk cId="3220214725" sldId="8811"/>
            <ac:spMk id="86" creationId="{1C428F25-3D59-46C9-BA67-AA2667D1837B}"/>
          </ac:spMkLst>
        </pc:spChg>
        <pc:spChg chg="mod">
          <ac:chgData name="Tereza Mendes" userId="bb2291e0-f53c-426c-bc7e-e6da289e7b4f" providerId="ADAL" clId="{4E2D14C3-4C81-4449-96AF-2D365022FBEF}" dt="2021-01-06T19:06:49.931" v="10058" actId="20577"/>
          <ac:spMkLst>
            <pc:docMk/>
            <pc:sldMk cId="3220214725" sldId="8811"/>
            <ac:spMk id="87" creationId="{FBD72122-9DB4-4DB2-AB1D-5979B8A7723C}"/>
          </ac:spMkLst>
        </pc:spChg>
        <pc:spChg chg="mod">
          <ac:chgData name="Tereza Mendes" userId="bb2291e0-f53c-426c-bc7e-e6da289e7b4f" providerId="ADAL" clId="{4E2D14C3-4C81-4449-96AF-2D365022FBEF}" dt="2021-01-06T19:07:01.544" v="10062" actId="14100"/>
          <ac:spMkLst>
            <pc:docMk/>
            <pc:sldMk cId="3220214725" sldId="8811"/>
            <ac:spMk id="88" creationId="{BCF0A579-943E-4259-A510-72D4D101BD2D}"/>
          </ac:spMkLst>
        </pc:spChg>
        <pc:spChg chg="mod">
          <ac:chgData name="Tereza Mendes" userId="bb2291e0-f53c-426c-bc7e-e6da289e7b4f" providerId="ADAL" clId="{4E2D14C3-4C81-4449-96AF-2D365022FBEF}" dt="2021-01-06T19:10:24.229" v="10248" actId="14100"/>
          <ac:spMkLst>
            <pc:docMk/>
            <pc:sldMk cId="3220214725" sldId="8811"/>
            <ac:spMk id="90" creationId="{ECBFEC24-2A32-4A12-8318-52D6D24D09DC}"/>
          </ac:spMkLst>
        </pc:spChg>
        <pc:spChg chg="mod">
          <ac:chgData name="Tereza Mendes" userId="bb2291e0-f53c-426c-bc7e-e6da289e7b4f" providerId="ADAL" clId="{4E2D14C3-4C81-4449-96AF-2D365022FBEF}" dt="2021-01-06T19:07:22.710" v="10091" actId="20577"/>
          <ac:spMkLst>
            <pc:docMk/>
            <pc:sldMk cId="3220214725" sldId="8811"/>
            <ac:spMk id="91" creationId="{83D4F5DA-B9D0-4099-A7C7-AF6FB7567BC1}"/>
          </ac:spMkLst>
        </pc:spChg>
        <pc:spChg chg="mod">
          <ac:chgData name="Tereza Mendes" userId="bb2291e0-f53c-426c-bc7e-e6da289e7b4f" providerId="ADAL" clId="{4E2D14C3-4C81-4449-96AF-2D365022FBEF}" dt="2021-01-06T19:10:10.057" v="10247" actId="1038"/>
          <ac:spMkLst>
            <pc:docMk/>
            <pc:sldMk cId="3220214725" sldId="8811"/>
            <ac:spMk id="92" creationId="{5D799C9A-4A93-4CB1-9197-7FD7BDB5FFC0}"/>
          </ac:spMkLst>
        </pc:spChg>
        <pc:spChg chg="mod">
          <ac:chgData name="Tereza Mendes" userId="bb2291e0-f53c-426c-bc7e-e6da289e7b4f" providerId="ADAL" clId="{4E2D14C3-4C81-4449-96AF-2D365022FBEF}" dt="2021-01-06T19:10:07.220" v="10239" actId="14100"/>
          <ac:spMkLst>
            <pc:docMk/>
            <pc:sldMk cId="3220214725" sldId="8811"/>
            <ac:spMk id="94" creationId="{23C2572C-EC64-4D9E-8471-D6DE7F99841E}"/>
          </ac:spMkLst>
        </pc:spChg>
        <pc:spChg chg="mod">
          <ac:chgData name="Tereza Mendes" userId="bb2291e0-f53c-426c-bc7e-e6da289e7b4f" providerId="ADAL" clId="{4E2D14C3-4C81-4449-96AF-2D365022FBEF}" dt="2021-01-06T19:08:42.878" v="10194" actId="20577"/>
          <ac:spMkLst>
            <pc:docMk/>
            <pc:sldMk cId="3220214725" sldId="8811"/>
            <ac:spMk id="95" creationId="{582BAAB6-29B7-4D00-B6DB-3F887978422A}"/>
          </ac:spMkLst>
        </pc:spChg>
        <pc:spChg chg="mod">
          <ac:chgData name="Tereza Mendes" userId="bb2291e0-f53c-426c-bc7e-e6da289e7b4f" providerId="ADAL" clId="{4E2D14C3-4C81-4449-96AF-2D365022FBEF}" dt="2021-01-06T19:09:59.766" v="10238" actId="1037"/>
          <ac:spMkLst>
            <pc:docMk/>
            <pc:sldMk cId="3220214725" sldId="8811"/>
            <ac:spMk id="96" creationId="{6C01F746-0132-40C0-A4AE-C276826CB94F}"/>
          </ac:spMkLst>
        </pc:spChg>
        <pc:grpChg chg="add del">
          <ac:chgData name="Tereza Mendes" userId="bb2291e0-f53c-426c-bc7e-e6da289e7b4f" providerId="ADAL" clId="{4E2D14C3-4C81-4449-96AF-2D365022FBEF}" dt="2021-01-06T19:07:10.039" v="10064" actId="478"/>
          <ac:grpSpMkLst>
            <pc:docMk/>
            <pc:sldMk cId="3220214725" sldId="8811"/>
            <ac:grpSpMk id="81" creationId="{72E33BA0-D4C9-4277-97FB-FB7231BF3573}"/>
          </ac:grpSpMkLst>
        </pc:grpChg>
        <pc:grpChg chg="add mod">
          <ac:chgData name="Tereza Mendes" userId="bb2291e0-f53c-426c-bc7e-e6da289e7b4f" providerId="ADAL" clId="{4E2D14C3-4C81-4449-96AF-2D365022FBEF}" dt="2021-01-06T19:10:39.721" v="10263" actId="1037"/>
          <ac:grpSpMkLst>
            <pc:docMk/>
            <pc:sldMk cId="3220214725" sldId="8811"/>
            <ac:grpSpMk id="85" creationId="{C19AE779-EC13-4320-A817-39E2DCD138F6}"/>
          </ac:grpSpMkLst>
        </pc:grpChg>
        <pc:grpChg chg="add mod">
          <ac:chgData name="Tereza Mendes" userId="bb2291e0-f53c-426c-bc7e-e6da289e7b4f" providerId="ADAL" clId="{4E2D14C3-4C81-4449-96AF-2D365022FBEF}" dt="2021-01-06T19:10:39.721" v="10263" actId="1037"/>
          <ac:grpSpMkLst>
            <pc:docMk/>
            <pc:sldMk cId="3220214725" sldId="8811"/>
            <ac:grpSpMk id="89" creationId="{8E247661-4E3A-40D0-BFB5-8B293280D68A}"/>
          </ac:grpSpMkLst>
        </pc:grpChg>
        <pc:grpChg chg="add mod">
          <ac:chgData name="Tereza Mendes" userId="bb2291e0-f53c-426c-bc7e-e6da289e7b4f" providerId="ADAL" clId="{4E2D14C3-4C81-4449-96AF-2D365022FBEF}" dt="2021-01-06T19:09:48.008" v="10229" actId="1038"/>
          <ac:grpSpMkLst>
            <pc:docMk/>
            <pc:sldMk cId="3220214725" sldId="8811"/>
            <ac:grpSpMk id="93" creationId="{D155D705-0F3B-48FC-86AE-9D3B8583A3A2}"/>
          </ac:grpSpMkLst>
        </pc:grpChg>
        <pc:graphicFrameChg chg="add del mod">
          <ac:chgData name="Tereza Mendes" userId="bb2291e0-f53c-426c-bc7e-e6da289e7b4f" providerId="ADAL" clId="{4E2D14C3-4C81-4449-96AF-2D365022FBEF}" dt="2021-01-06T18:23:35.637" v="9343" actId="478"/>
          <ac:graphicFrameMkLst>
            <pc:docMk/>
            <pc:sldMk cId="3220214725" sldId="8811"/>
            <ac:graphicFrameMk id="59" creationId="{AE84B1F7-75BF-497A-B98A-32AF86284025}"/>
          </ac:graphicFrameMkLst>
        </pc:graphicFrameChg>
        <pc:graphicFrameChg chg="add mod modGraphic">
          <ac:chgData name="Tereza Mendes" userId="bb2291e0-f53c-426c-bc7e-e6da289e7b4f" providerId="ADAL" clId="{4E2D14C3-4C81-4449-96AF-2D365022FBEF}" dt="2021-01-06T19:15:06.430" v="10329" actId="113"/>
          <ac:graphicFrameMkLst>
            <pc:docMk/>
            <pc:sldMk cId="3220214725" sldId="8811"/>
            <ac:graphicFrameMk id="60" creationId="{95F74F7E-C162-4B94-9980-BA41F9700C4C}"/>
          </ac:graphicFrameMkLst>
        </pc:graphicFrameChg>
        <pc:cxnChg chg="add del">
          <ac:chgData name="Tereza Mendes" userId="bb2291e0-f53c-426c-bc7e-e6da289e7b4f" providerId="ADAL" clId="{4E2D14C3-4C81-4449-96AF-2D365022FBEF}" dt="2021-01-06T18:09:58.022" v="9290" actId="478"/>
          <ac:cxnSpMkLst>
            <pc:docMk/>
            <pc:sldMk cId="3220214725" sldId="8811"/>
            <ac:cxnSpMk id="33" creationId="{272E2B38-0DD7-443D-B894-6EC5DD4C6D5A}"/>
          </ac:cxnSpMkLst>
        </pc:cxnChg>
        <pc:cxnChg chg="add mod">
          <ac:chgData name="Tereza Mendes" userId="bb2291e0-f53c-426c-bc7e-e6da289e7b4f" providerId="ADAL" clId="{4E2D14C3-4C81-4449-96AF-2D365022FBEF}" dt="2021-01-06T18:40:23.911" v="9511" actId="1035"/>
          <ac:cxnSpMkLst>
            <pc:docMk/>
            <pc:sldMk cId="3220214725" sldId="8811"/>
            <ac:cxnSpMk id="49" creationId="{B2E08041-A30C-4C73-BE0F-61B177A194D5}"/>
          </ac:cxnSpMkLst>
        </pc:cxnChg>
        <pc:cxnChg chg="add mod">
          <ac:chgData name="Tereza Mendes" userId="bb2291e0-f53c-426c-bc7e-e6da289e7b4f" providerId="ADAL" clId="{4E2D14C3-4C81-4449-96AF-2D365022FBEF}" dt="2021-01-06T18:41:54.023" v="9563" actId="208"/>
          <ac:cxnSpMkLst>
            <pc:docMk/>
            <pc:sldMk cId="3220214725" sldId="8811"/>
            <ac:cxnSpMk id="79" creationId="{9E1BF1F4-CCC9-4EEA-A67F-87E8261212EA}"/>
          </ac:cxnSpMkLst>
        </pc:cxnChg>
      </pc:sldChg>
      <pc:sldChg chg="addSp delSp modSp add">
        <pc:chgData name="Tereza Mendes" userId="bb2291e0-f53c-426c-bc7e-e6da289e7b4f" providerId="ADAL" clId="{4E2D14C3-4C81-4449-96AF-2D365022FBEF}" dt="2021-01-06T22:19:45.237" v="10630" actId="207"/>
        <pc:sldMkLst>
          <pc:docMk/>
          <pc:sldMk cId="3578439707" sldId="8812"/>
        </pc:sldMkLst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17" creationId="{EE9A4875-21A8-4E08-9778-FECEDED0A2AF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18" creationId="{F5324C2C-CCBC-477E-84A9-702970A4CF72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19" creationId="{77B30FFB-986A-43D4-96A5-644C11DCABA1}"/>
          </ac:spMkLst>
        </pc:spChg>
        <pc:spChg chg="mod">
          <ac:chgData name="Tereza Mendes" userId="bb2291e0-f53c-426c-bc7e-e6da289e7b4f" providerId="ADAL" clId="{4E2D14C3-4C81-4449-96AF-2D365022FBEF}" dt="2021-01-06T22:19:43.230" v="10629" actId="207"/>
          <ac:spMkLst>
            <pc:docMk/>
            <pc:sldMk cId="3578439707" sldId="8812"/>
            <ac:spMk id="23" creationId="{9B09B1FB-7F54-4443-B5E4-EC261230603C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26" creationId="{2E2C6C24-6C33-4180-A0CC-8A87240D6EF5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42" creationId="{B2E718F3-6C66-4EC1-B856-CD1ECA0F97F6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43" creationId="{10E8F298-2FEF-4E08-A218-C05ED9E304CD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44" creationId="{393ACC8F-9FD8-433D-9C7B-2ED25C59A8D5}"/>
          </ac:spMkLst>
        </pc:spChg>
        <pc:spChg chg="mod">
          <ac:chgData name="Tereza Mendes" userId="bb2291e0-f53c-426c-bc7e-e6da289e7b4f" providerId="ADAL" clId="{4E2D14C3-4C81-4449-96AF-2D365022FBEF}" dt="2021-01-06T21:52:17.618" v="10413" actId="20577"/>
          <ac:spMkLst>
            <pc:docMk/>
            <pc:sldMk cId="3578439707" sldId="8812"/>
            <ac:spMk id="45" creationId="{270ED21D-61DE-40D6-98D9-71739F1F6841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46" creationId="{346080FC-74B7-4F15-A023-BD28959E5989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47" creationId="{66192F3F-CD4A-4D33-9828-44720750008C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48" creationId="{CD883FB0-0C76-48A8-BB78-9DC5818B043C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0" creationId="{6F0B9857-A609-47B1-83D1-C19F12FE7AF9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1" creationId="{A93BB5B1-E2AC-48B3-BFC6-B85BF5BF3EEC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2" creationId="{6E50EAAB-C2AF-4E4D-8DF2-190F69D2E642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3" creationId="{0477C236-677B-4B6F-96F4-337015D039F2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4" creationId="{5842E78F-701E-4CE0-BC97-5C3E2D406686}"/>
          </ac:spMkLst>
        </pc:spChg>
        <pc:spChg chg="mod">
          <ac:chgData name="Tereza Mendes" userId="bb2291e0-f53c-426c-bc7e-e6da289e7b4f" providerId="ADAL" clId="{4E2D14C3-4C81-4449-96AF-2D365022FBEF}" dt="2021-01-06T22:00:45.659" v="10536" actId="1037"/>
          <ac:spMkLst>
            <pc:docMk/>
            <pc:sldMk cId="3578439707" sldId="8812"/>
            <ac:spMk id="55" creationId="{6A3D8DD4-5506-456B-BA2D-3284DCA50580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56" creationId="{0937C99F-7087-4FB0-98D0-DB2D96F1FEDC}"/>
          </ac:spMkLst>
        </pc:spChg>
        <pc:spChg chg="mod">
          <ac:chgData name="Tereza Mendes" userId="bb2291e0-f53c-426c-bc7e-e6da289e7b4f" providerId="ADAL" clId="{4E2D14C3-4C81-4449-96AF-2D365022FBEF}" dt="2021-01-06T22:08:03.060" v="10580"/>
          <ac:spMkLst>
            <pc:docMk/>
            <pc:sldMk cId="3578439707" sldId="8812"/>
            <ac:spMk id="57" creationId="{607DFE4D-0CF2-4D5C-B238-F45ED141D961}"/>
          </ac:spMkLst>
        </pc:spChg>
        <pc:spChg chg="mod">
          <ac:chgData name="Tereza Mendes" userId="bb2291e0-f53c-426c-bc7e-e6da289e7b4f" providerId="ADAL" clId="{4E2D14C3-4C81-4449-96AF-2D365022FBEF}" dt="2021-01-06T21:53:57.884" v="10462" actId="14100"/>
          <ac:spMkLst>
            <pc:docMk/>
            <pc:sldMk cId="3578439707" sldId="8812"/>
            <ac:spMk id="61" creationId="{F509D0A0-7343-480C-8B03-7FBB961EA76C}"/>
          </ac:spMkLst>
        </pc:spChg>
        <pc:spChg chg="mod">
          <ac:chgData name="Tereza Mendes" userId="bb2291e0-f53c-426c-bc7e-e6da289e7b4f" providerId="ADAL" clId="{4E2D14C3-4C81-4449-96AF-2D365022FBEF}" dt="2021-01-06T21:57:31.443" v="10506" actId="1038"/>
          <ac:spMkLst>
            <pc:docMk/>
            <pc:sldMk cId="3578439707" sldId="8812"/>
            <ac:spMk id="62" creationId="{0204BD64-83DA-49F6-84F7-1B1E58ED01E2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63" creationId="{44AA5F87-AB15-48B6-8EBB-D65A81205A55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64" creationId="{E603DC79-925B-4DDD-83CC-2BB68651234F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65" creationId="{356D67B7-4175-41BD-8F6E-ADDAD3AF47ED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66" creationId="{0193F79A-66BB-4BAB-AC23-13A19CDCF3BC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67" creationId="{7E3071DE-A2D9-480B-91E3-8C46F616E649}"/>
          </ac:spMkLst>
        </pc:spChg>
        <pc:spChg chg="mod">
          <ac:chgData name="Tereza Mendes" userId="bb2291e0-f53c-426c-bc7e-e6da289e7b4f" providerId="ADAL" clId="{4E2D14C3-4C81-4449-96AF-2D365022FBEF}" dt="2021-01-06T22:19:45.237" v="10630" actId="207"/>
          <ac:spMkLst>
            <pc:docMk/>
            <pc:sldMk cId="3578439707" sldId="8812"/>
            <ac:spMk id="68" creationId="{0C2CF502-3061-4A53-94C0-7AA3BD3356F9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69" creationId="{B9FE4F48-8A3B-47DB-A060-DACAB634292B}"/>
          </ac:spMkLst>
        </pc:spChg>
        <pc:spChg chg="mod">
          <ac:chgData name="Tereza Mendes" userId="bb2291e0-f53c-426c-bc7e-e6da289e7b4f" providerId="ADAL" clId="{4E2D14C3-4C81-4449-96AF-2D365022FBEF}" dt="2021-01-06T21:53:54.879" v="10461" actId="1038"/>
          <ac:spMkLst>
            <pc:docMk/>
            <pc:sldMk cId="3578439707" sldId="8812"/>
            <ac:spMk id="70" creationId="{9FB8BE57-8CE1-404F-A11D-6027FDE68ECD}"/>
          </ac:spMkLst>
        </pc:spChg>
        <pc:spChg chg="mod">
          <ac:chgData name="Tereza Mendes" userId="bb2291e0-f53c-426c-bc7e-e6da289e7b4f" providerId="ADAL" clId="{4E2D14C3-4C81-4449-96AF-2D365022FBEF}" dt="2021-01-06T21:54:21.511" v="10474" actId="14100"/>
          <ac:spMkLst>
            <pc:docMk/>
            <pc:sldMk cId="3578439707" sldId="8812"/>
            <ac:spMk id="71" creationId="{2A8B3D5F-6126-498D-867C-2FD7F96DCAF9}"/>
          </ac:spMkLst>
        </pc:spChg>
        <pc:spChg chg="del mod">
          <ac:chgData name="Tereza Mendes" userId="bb2291e0-f53c-426c-bc7e-e6da289e7b4f" providerId="ADAL" clId="{4E2D14C3-4C81-4449-96AF-2D365022FBEF}" dt="2021-01-06T21:55:24.449" v="10495" actId="478"/>
          <ac:spMkLst>
            <pc:docMk/>
            <pc:sldMk cId="3578439707" sldId="8812"/>
            <ac:spMk id="72" creationId="{7B4F4E26-044E-410C-8E24-7CE9E6956042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73" creationId="{65C74F9C-FDD9-4ECD-89C4-82304577B403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74" creationId="{DCDEE5CF-44D1-4996-9EF0-D94666EE72CA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75" creationId="{74913BB5-A723-437D-8E4B-B870A232CB79}"/>
          </ac:spMkLst>
        </pc:spChg>
        <pc:spChg chg="mod">
          <ac:chgData name="Tereza Mendes" userId="bb2291e0-f53c-426c-bc7e-e6da289e7b4f" providerId="ADAL" clId="{4E2D14C3-4C81-4449-96AF-2D365022FBEF}" dt="2021-01-06T19:13:20.299" v="10305" actId="1036"/>
          <ac:spMkLst>
            <pc:docMk/>
            <pc:sldMk cId="3578439707" sldId="8812"/>
            <ac:spMk id="76" creationId="{24494BE8-FFBD-4E5D-972A-66570E851CFE}"/>
          </ac:spMkLst>
        </pc:spChg>
        <pc:spChg chg="mod">
          <ac:chgData name="Tereza Mendes" userId="bb2291e0-f53c-426c-bc7e-e6da289e7b4f" providerId="ADAL" clId="{4E2D14C3-4C81-4449-96AF-2D365022FBEF}" dt="2021-01-06T19:13:03.518" v="10293"/>
          <ac:spMkLst>
            <pc:docMk/>
            <pc:sldMk cId="3578439707" sldId="8812"/>
            <ac:spMk id="78" creationId="{06AC47F4-C4F9-4BBF-96B9-BF4B8721B4C1}"/>
          </ac:spMkLst>
        </pc:spChg>
        <pc:spChg chg="mod">
          <ac:chgData name="Tereza Mendes" userId="bb2291e0-f53c-426c-bc7e-e6da289e7b4f" providerId="ADAL" clId="{4E2D14C3-4C81-4449-96AF-2D365022FBEF}" dt="2021-01-06T19:12:57.669" v="10292" actId="20577"/>
          <ac:spMkLst>
            <pc:docMk/>
            <pc:sldMk cId="3578439707" sldId="8812"/>
            <ac:spMk id="80" creationId="{C02E49D9-2559-46E5-BD48-5B29611B7D74}"/>
          </ac:spMkLst>
        </pc:spChg>
        <pc:spChg chg="add mod">
          <ac:chgData name="Tereza Mendes" userId="bb2291e0-f53c-426c-bc7e-e6da289e7b4f" providerId="ADAL" clId="{4E2D14C3-4C81-4449-96AF-2D365022FBEF}" dt="2021-01-06T21:57:31.443" v="10506" actId="1038"/>
          <ac:spMkLst>
            <pc:docMk/>
            <pc:sldMk cId="3578439707" sldId="8812"/>
            <ac:spMk id="81" creationId="{8922C9D7-ADE3-4E9D-817B-D9EC7A9FCE64}"/>
          </ac:spMkLst>
        </pc:spChg>
        <pc:spChg chg="add mod">
          <ac:chgData name="Tereza Mendes" userId="bb2291e0-f53c-426c-bc7e-e6da289e7b4f" providerId="ADAL" clId="{4E2D14C3-4C81-4449-96AF-2D365022FBEF}" dt="2021-01-06T22:16:10.434" v="10584" actId="20577"/>
          <ac:spMkLst>
            <pc:docMk/>
            <pc:sldMk cId="3578439707" sldId="8812"/>
            <ac:spMk id="82" creationId="{3188502E-D3A1-4619-8520-DBED94235407}"/>
          </ac:spMkLst>
        </pc:spChg>
        <pc:spChg chg="add mod">
          <ac:chgData name="Tereza Mendes" userId="bb2291e0-f53c-426c-bc7e-e6da289e7b4f" providerId="ADAL" clId="{4E2D14C3-4C81-4449-96AF-2D365022FBEF}" dt="2021-01-06T22:16:22.794" v="10588" actId="1036"/>
          <ac:spMkLst>
            <pc:docMk/>
            <pc:sldMk cId="3578439707" sldId="8812"/>
            <ac:spMk id="83" creationId="{1C01FE5B-EBEC-441E-ABA9-79B777AA7D60}"/>
          </ac:spMkLst>
        </pc:spChg>
        <pc:spChg chg="mod">
          <ac:chgData name="Tereza Mendes" userId="bb2291e0-f53c-426c-bc7e-e6da289e7b4f" providerId="ADAL" clId="{4E2D14C3-4C81-4449-96AF-2D365022FBEF}" dt="2021-01-06T19:12:35.093" v="10277" actId="14100"/>
          <ac:spMkLst>
            <pc:docMk/>
            <pc:sldMk cId="3578439707" sldId="8812"/>
            <ac:spMk id="90" creationId="{ECBFEC24-2A32-4A12-8318-52D6D24D09DC}"/>
          </ac:spMkLst>
        </pc:spChg>
        <pc:spChg chg="mod">
          <ac:chgData name="Tereza Mendes" userId="bb2291e0-f53c-426c-bc7e-e6da289e7b4f" providerId="ADAL" clId="{4E2D14C3-4C81-4449-96AF-2D365022FBEF}" dt="2021-01-06T19:12:38.683" v="10284" actId="1038"/>
          <ac:spMkLst>
            <pc:docMk/>
            <pc:sldMk cId="3578439707" sldId="8812"/>
            <ac:spMk id="91" creationId="{83D4F5DA-B9D0-4099-A7C7-AF6FB7567BC1}"/>
          </ac:spMkLst>
        </pc:spChg>
        <pc:spChg chg="mod">
          <ac:chgData name="Tereza Mendes" userId="bb2291e0-f53c-426c-bc7e-e6da289e7b4f" providerId="ADAL" clId="{4E2D14C3-4C81-4449-96AF-2D365022FBEF}" dt="2021-01-06T19:12:42.189" v="10288" actId="1038"/>
          <ac:spMkLst>
            <pc:docMk/>
            <pc:sldMk cId="3578439707" sldId="8812"/>
            <ac:spMk id="92" creationId="{5D799C9A-4A93-4CB1-9197-7FD7BDB5FFC0}"/>
          </ac:spMkLst>
        </pc:spChg>
        <pc:grpChg chg="add mod">
          <ac:chgData name="Tereza Mendes" userId="bb2291e0-f53c-426c-bc7e-e6da289e7b4f" providerId="ADAL" clId="{4E2D14C3-4C81-4449-96AF-2D365022FBEF}" dt="2021-01-06T20:15:20.278" v="10340" actId="1038"/>
          <ac:grpSpMkLst>
            <pc:docMk/>
            <pc:sldMk cId="3578439707" sldId="8812"/>
            <ac:grpSpMk id="59" creationId="{5BE146CB-0A8C-47DC-9669-AA9A58EB4632}"/>
          </ac:grpSpMkLst>
        </pc:grpChg>
        <pc:grpChg chg="mod">
          <ac:chgData name="Tereza Mendes" userId="bb2291e0-f53c-426c-bc7e-e6da289e7b4f" providerId="ADAL" clId="{4E2D14C3-4C81-4449-96AF-2D365022FBEF}" dt="2021-01-06T20:15:20.278" v="10340" actId="1038"/>
          <ac:grpSpMkLst>
            <pc:docMk/>
            <pc:sldMk cId="3578439707" sldId="8812"/>
            <ac:grpSpMk id="85" creationId="{C19AE779-EC13-4320-A817-39E2DCD138F6}"/>
          </ac:grpSpMkLst>
        </pc:grpChg>
        <pc:grpChg chg="mod">
          <ac:chgData name="Tereza Mendes" userId="bb2291e0-f53c-426c-bc7e-e6da289e7b4f" providerId="ADAL" clId="{4E2D14C3-4C81-4449-96AF-2D365022FBEF}" dt="2021-01-06T20:15:20.278" v="10340" actId="1038"/>
          <ac:grpSpMkLst>
            <pc:docMk/>
            <pc:sldMk cId="3578439707" sldId="8812"/>
            <ac:grpSpMk id="89" creationId="{8E247661-4E3A-40D0-BFB5-8B293280D68A}"/>
          </ac:grpSpMkLst>
        </pc:grpChg>
        <pc:grpChg chg="del">
          <ac:chgData name="Tereza Mendes" userId="bb2291e0-f53c-426c-bc7e-e6da289e7b4f" providerId="ADAL" clId="{4E2D14C3-4C81-4449-96AF-2D365022FBEF}" dt="2021-01-06T19:13:06.973" v="10294" actId="478"/>
          <ac:grpSpMkLst>
            <pc:docMk/>
            <pc:sldMk cId="3578439707" sldId="8812"/>
            <ac:grpSpMk id="93" creationId="{D155D705-0F3B-48FC-86AE-9D3B8583A3A2}"/>
          </ac:grpSpMkLst>
        </pc:grpChg>
        <pc:graphicFrameChg chg="mod modGraphic">
          <ac:chgData name="Tereza Mendes" userId="bb2291e0-f53c-426c-bc7e-e6da289e7b4f" providerId="ADAL" clId="{4E2D14C3-4C81-4449-96AF-2D365022FBEF}" dt="2021-01-06T20:15:25.308" v="10347" actId="1038"/>
          <ac:graphicFrameMkLst>
            <pc:docMk/>
            <pc:sldMk cId="3578439707" sldId="8812"/>
            <ac:graphicFrameMk id="60" creationId="{95F74F7E-C162-4B94-9980-BA41F9700C4C}"/>
          </ac:graphicFrameMkLst>
        </pc:graphicFrameChg>
        <pc:cxnChg chg="mod">
          <ac:chgData name="Tereza Mendes" userId="bb2291e0-f53c-426c-bc7e-e6da289e7b4f" providerId="ADAL" clId="{4E2D14C3-4C81-4449-96AF-2D365022FBEF}" dt="2021-01-06T19:13:20.299" v="10305" actId="1036"/>
          <ac:cxnSpMkLst>
            <pc:docMk/>
            <pc:sldMk cId="3578439707" sldId="8812"/>
            <ac:cxnSpMk id="49" creationId="{B2E08041-A30C-4C73-BE0F-61B177A194D5}"/>
          </ac:cxnSpMkLst>
        </pc:cxnChg>
      </pc:sldChg>
      <pc:sldChg chg="add del">
        <pc:chgData name="Tereza Mendes" userId="bb2291e0-f53c-426c-bc7e-e6da289e7b4f" providerId="ADAL" clId="{4E2D14C3-4C81-4449-96AF-2D365022FBEF}" dt="2021-01-06T18:23:57.359" v="9345" actId="2696"/>
        <pc:sldMkLst>
          <pc:docMk/>
          <pc:sldMk cId="3728906580" sldId="8812"/>
        </pc:sldMkLst>
      </pc:sldChg>
      <pc:sldChg chg="modSp add">
        <pc:chgData name="Tereza Mendes" userId="bb2291e0-f53c-426c-bc7e-e6da289e7b4f" providerId="ADAL" clId="{4E2D14C3-4C81-4449-96AF-2D365022FBEF}" dt="2021-01-06T22:19:07.461" v="10628" actId="20577"/>
        <pc:sldMkLst>
          <pc:docMk/>
          <pc:sldMk cId="1217463327" sldId="8813"/>
        </pc:sldMkLst>
        <pc:spChg chg="mod">
          <ac:chgData name="Tereza Mendes" userId="bb2291e0-f53c-426c-bc7e-e6da289e7b4f" providerId="ADAL" clId="{4E2D14C3-4C81-4449-96AF-2D365022FBEF}" dt="2021-01-06T22:18:04.519" v="10620" actId="207"/>
          <ac:spMkLst>
            <pc:docMk/>
            <pc:sldMk cId="1217463327" sldId="8813"/>
            <ac:spMk id="23" creationId="{9B09B1FB-7F54-4443-B5E4-EC261230603C}"/>
          </ac:spMkLst>
        </pc:spChg>
        <pc:spChg chg="mod">
          <ac:chgData name="Tereza Mendes" userId="bb2291e0-f53c-426c-bc7e-e6da289e7b4f" providerId="ADAL" clId="{4E2D14C3-4C81-4449-96AF-2D365022FBEF}" dt="2021-01-06T22:17:13.047" v="10611" actId="20577"/>
          <ac:spMkLst>
            <pc:docMk/>
            <pc:sldMk cId="1217463327" sldId="8813"/>
            <ac:spMk id="54" creationId="{5842E78F-701E-4CE0-BC97-5C3E2D406686}"/>
          </ac:spMkLst>
        </pc:spChg>
        <pc:spChg chg="mod">
          <ac:chgData name="Tereza Mendes" userId="bb2291e0-f53c-426c-bc7e-e6da289e7b4f" providerId="ADAL" clId="{4E2D14C3-4C81-4449-96AF-2D365022FBEF}" dt="2021-01-06T22:18:37.303" v="10624" actId="20577"/>
          <ac:spMkLst>
            <pc:docMk/>
            <pc:sldMk cId="1217463327" sldId="8813"/>
            <ac:spMk id="57" creationId="{607DFE4D-0CF2-4D5C-B238-F45ED141D961}"/>
          </ac:spMkLst>
        </pc:spChg>
        <pc:spChg chg="mod">
          <ac:chgData name="Tereza Mendes" userId="bb2291e0-f53c-426c-bc7e-e6da289e7b4f" providerId="ADAL" clId="{4E2D14C3-4C81-4449-96AF-2D365022FBEF}" dt="2021-01-06T22:18:11.314" v="10621" actId="207"/>
          <ac:spMkLst>
            <pc:docMk/>
            <pc:sldMk cId="1217463327" sldId="8813"/>
            <ac:spMk id="68" creationId="{0C2CF502-3061-4A53-94C0-7AA3BD3356F9}"/>
          </ac:spMkLst>
        </pc:spChg>
        <pc:spChg chg="mod">
          <ac:chgData name="Tereza Mendes" userId="bb2291e0-f53c-426c-bc7e-e6da289e7b4f" providerId="ADAL" clId="{4E2D14C3-4C81-4449-96AF-2D365022FBEF}" dt="2021-01-06T22:19:07.461" v="10628" actId="20577"/>
          <ac:spMkLst>
            <pc:docMk/>
            <pc:sldMk cId="1217463327" sldId="8813"/>
            <ac:spMk id="70" creationId="{9FB8BE57-8CE1-404F-A11D-6027FDE68ECD}"/>
          </ac:spMkLst>
        </pc:spChg>
        <pc:spChg chg="mod">
          <ac:chgData name="Tereza Mendes" userId="bb2291e0-f53c-426c-bc7e-e6da289e7b4f" providerId="ADAL" clId="{4E2D14C3-4C81-4449-96AF-2D365022FBEF}" dt="2021-01-06T22:18:26.399" v="10623" actId="20577"/>
          <ac:spMkLst>
            <pc:docMk/>
            <pc:sldMk cId="1217463327" sldId="8813"/>
            <ac:spMk id="82" creationId="{3188502E-D3A1-4619-8520-DBED94235407}"/>
          </ac:spMkLst>
        </pc:spChg>
        <pc:spChg chg="mod">
          <ac:chgData name="Tereza Mendes" userId="bb2291e0-f53c-426c-bc7e-e6da289e7b4f" providerId="ADAL" clId="{4E2D14C3-4C81-4449-96AF-2D365022FBEF}" dt="2021-01-06T22:18:58.320" v="10626" actId="20577"/>
          <ac:spMkLst>
            <pc:docMk/>
            <pc:sldMk cId="1217463327" sldId="8813"/>
            <ac:spMk id="83" creationId="{1C01FE5B-EBEC-441E-ABA9-79B777AA7D60}"/>
          </ac:spMkLst>
        </pc:spChg>
      </pc:sldChg>
      <pc:sldMasterChg chg="delSldLayout">
        <pc:chgData name="Tereza Mendes" userId="bb2291e0-f53c-426c-bc7e-e6da289e7b4f" providerId="ADAL" clId="{4E2D14C3-4C81-4449-96AF-2D365022FBEF}" dt="2021-01-05T17:22:47.013" v="4326" actId="2696"/>
        <pc:sldMasterMkLst>
          <pc:docMk/>
          <pc:sldMasterMk cId="2217593345" sldId="2147483648"/>
        </pc:sldMasterMkLst>
        <pc:sldLayoutChg chg="del">
          <pc:chgData name="Tereza Mendes" userId="bb2291e0-f53c-426c-bc7e-e6da289e7b4f" providerId="ADAL" clId="{4E2D14C3-4C81-4449-96AF-2D365022FBEF}" dt="2021-01-05T17:22:47.013" v="4326" actId="2696"/>
          <pc:sldLayoutMkLst>
            <pc:docMk/>
            <pc:sldMasterMk cId="2217593345" sldId="2147483648"/>
            <pc:sldLayoutMk cId="3515069309" sldId="2147483674"/>
          </pc:sldLayoutMkLst>
        </pc:sldLayoutChg>
      </pc:sldMasterChg>
    </pc:docChg>
  </pc:docChgLst>
  <pc:docChgLst>
    <pc:chgData name="u003487 Tereza Salgueiro Ramalho Mendes" userId="bb2291e0-f53c-426c-bc7e-e6da289e7b4f" providerId="ADAL" clId="{061FDF7F-9982-4F40-8DE4-40EECBDFA11B}"/>
    <pc:docChg chg="custSel modSld">
      <pc:chgData name="u003487 Tereza Salgueiro Ramalho Mendes" userId="bb2291e0-f53c-426c-bc7e-e6da289e7b4f" providerId="ADAL" clId="{061FDF7F-9982-4F40-8DE4-40EECBDFA11B}" dt="2021-01-18T19:25:04.200" v="66" actId="207"/>
      <pc:docMkLst>
        <pc:docMk/>
      </pc:docMkLst>
      <pc:sldChg chg="modSp">
        <pc:chgData name="u003487 Tereza Salgueiro Ramalho Mendes" userId="bb2291e0-f53c-426c-bc7e-e6da289e7b4f" providerId="ADAL" clId="{061FDF7F-9982-4F40-8DE4-40EECBDFA11B}" dt="2021-01-15T16:52:42.445" v="29" actId="1038"/>
        <pc:sldMkLst>
          <pc:docMk/>
          <pc:sldMk cId="461259891" sldId="2612"/>
        </pc:sldMkLst>
        <pc:spChg chg="mod">
          <ac:chgData name="u003487 Tereza Salgueiro Ramalho Mendes" userId="bb2291e0-f53c-426c-bc7e-e6da289e7b4f" providerId="ADAL" clId="{061FDF7F-9982-4F40-8DE4-40EECBDFA11B}" dt="2021-01-15T16:52:26.303" v="23" actId="20577"/>
          <ac:spMkLst>
            <pc:docMk/>
            <pc:sldMk cId="461259891" sldId="2612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2:42.445" v="29" actId="1038"/>
          <ac:spMkLst>
            <pc:docMk/>
            <pc:sldMk cId="461259891" sldId="2612"/>
            <ac:spMk id="57" creationId="{607DFE4D-0CF2-4D5C-B238-F45ED141D961}"/>
          </ac:spMkLst>
        </pc:spChg>
      </pc:sldChg>
      <pc:sldChg chg="modSp">
        <pc:chgData name="u003487 Tereza Salgueiro Ramalho Mendes" userId="bb2291e0-f53c-426c-bc7e-e6da289e7b4f" providerId="ADAL" clId="{061FDF7F-9982-4F40-8DE4-40EECBDFA11B}" dt="2021-01-15T16:52:59.080" v="34" actId="20577"/>
        <pc:sldMkLst>
          <pc:docMk/>
          <pc:sldMk cId="2220034289" sldId="8807"/>
        </pc:sldMkLst>
        <pc:spChg chg="mod">
          <ac:chgData name="u003487 Tereza Salgueiro Ramalho Mendes" userId="bb2291e0-f53c-426c-bc7e-e6da289e7b4f" providerId="ADAL" clId="{061FDF7F-9982-4F40-8DE4-40EECBDFA11B}" dt="2021-01-15T16:52:59.080" v="34" actId="20577"/>
          <ac:spMkLst>
            <pc:docMk/>
            <pc:sldMk cId="2220034289" sldId="8807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2:54.299" v="31" actId="20577"/>
          <ac:spMkLst>
            <pc:docMk/>
            <pc:sldMk cId="2220034289" sldId="8807"/>
            <ac:spMk id="57" creationId="{607DFE4D-0CF2-4D5C-B238-F45ED141D961}"/>
          </ac:spMkLst>
        </pc:spChg>
      </pc:sldChg>
      <pc:sldChg chg="modSp">
        <pc:chgData name="u003487 Tereza Salgueiro Ramalho Mendes" userId="bb2291e0-f53c-426c-bc7e-e6da289e7b4f" providerId="ADAL" clId="{061FDF7F-9982-4F40-8DE4-40EECBDFA11B}" dt="2021-01-15T16:52:20.770" v="20" actId="20577"/>
        <pc:sldMkLst>
          <pc:docMk/>
          <pc:sldMk cId="720035197" sldId="8808"/>
        </pc:sldMkLst>
        <pc:spChg chg="mod">
          <ac:chgData name="u003487 Tereza Salgueiro Ramalho Mendes" userId="bb2291e0-f53c-426c-bc7e-e6da289e7b4f" providerId="ADAL" clId="{061FDF7F-9982-4F40-8DE4-40EECBDFA11B}" dt="2021-01-15T16:52:14.136" v="19" actId="20577"/>
          <ac:spMkLst>
            <pc:docMk/>
            <pc:sldMk cId="720035197" sldId="8808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2:20.770" v="20" actId="20577"/>
          <ac:spMkLst>
            <pc:docMk/>
            <pc:sldMk cId="720035197" sldId="8808"/>
            <ac:spMk id="57" creationId="{607DFE4D-0CF2-4D5C-B238-F45ED141D961}"/>
          </ac:spMkLst>
        </pc:spChg>
      </pc:sldChg>
      <pc:sldChg chg="modSp">
        <pc:chgData name="u003487 Tereza Salgueiro Ramalho Mendes" userId="bb2291e0-f53c-426c-bc7e-e6da289e7b4f" providerId="ADAL" clId="{061FDF7F-9982-4F40-8DE4-40EECBDFA11B}" dt="2021-01-15T16:52:06.249" v="16" actId="20577"/>
        <pc:sldMkLst>
          <pc:docMk/>
          <pc:sldMk cId="1217463327" sldId="8813"/>
        </pc:sldMkLst>
        <pc:spChg chg="mod">
          <ac:chgData name="u003487 Tereza Salgueiro Ramalho Mendes" userId="bb2291e0-f53c-426c-bc7e-e6da289e7b4f" providerId="ADAL" clId="{061FDF7F-9982-4F40-8DE4-40EECBDFA11B}" dt="2021-01-15T16:49:53.863" v="9" actId="20577"/>
          <ac:spMkLst>
            <pc:docMk/>
            <pc:sldMk cId="1217463327" sldId="8813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2:06.249" v="16" actId="20577"/>
          <ac:spMkLst>
            <pc:docMk/>
            <pc:sldMk cId="1217463327" sldId="8813"/>
            <ac:spMk id="57" creationId="{607DFE4D-0CF2-4D5C-B238-F45ED141D961}"/>
          </ac:spMkLst>
        </pc:spChg>
        <pc:spChg chg="mod">
          <ac:chgData name="u003487 Tereza Salgueiro Ramalho Mendes" userId="bb2291e0-f53c-426c-bc7e-e6da289e7b4f" providerId="ADAL" clId="{061FDF7F-9982-4F40-8DE4-40EECBDFA11B}" dt="2021-01-15T16:51:51.622" v="13" actId="14100"/>
          <ac:spMkLst>
            <pc:docMk/>
            <pc:sldMk cId="1217463327" sldId="8813"/>
            <ac:spMk id="82" creationId="{3188502E-D3A1-4619-8520-DBED94235407}"/>
          </ac:spMkLst>
        </pc:spChg>
      </pc:sldChg>
      <pc:sldChg chg="modSp">
        <pc:chgData name="u003487 Tereza Salgueiro Ramalho Mendes" userId="bb2291e0-f53c-426c-bc7e-e6da289e7b4f" providerId="ADAL" clId="{061FDF7F-9982-4F40-8DE4-40EECBDFA11B}" dt="2021-01-15T16:53:24.607" v="43" actId="20577"/>
        <pc:sldMkLst>
          <pc:docMk/>
          <pc:sldMk cId="4118331896" sldId="8815"/>
        </pc:sldMkLst>
        <pc:spChg chg="mod">
          <ac:chgData name="u003487 Tereza Salgueiro Ramalho Mendes" userId="bb2291e0-f53c-426c-bc7e-e6da289e7b4f" providerId="ADAL" clId="{061FDF7F-9982-4F40-8DE4-40EECBDFA11B}" dt="2021-01-15T16:53:17.698" v="42" actId="20577"/>
          <ac:spMkLst>
            <pc:docMk/>
            <pc:sldMk cId="4118331896" sldId="8815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3:24.607" v="43" actId="20577"/>
          <ac:spMkLst>
            <pc:docMk/>
            <pc:sldMk cId="4118331896" sldId="8815"/>
            <ac:spMk id="57" creationId="{607DFE4D-0CF2-4D5C-B238-F45ED141D961}"/>
          </ac:spMkLst>
        </pc:spChg>
      </pc:sldChg>
      <pc:sldChg chg="modSp">
        <pc:chgData name="u003487 Tereza Salgueiro Ramalho Mendes" userId="bb2291e0-f53c-426c-bc7e-e6da289e7b4f" providerId="ADAL" clId="{061FDF7F-9982-4F40-8DE4-40EECBDFA11B}" dt="2021-01-18T19:25:04.200" v="66" actId="207"/>
        <pc:sldMkLst>
          <pc:docMk/>
          <pc:sldMk cId="3182445471" sldId="8816"/>
        </pc:sldMkLst>
        <pc:spChg chg="mod">
          <ac:chgData name="u003487 Tereza Salgueiro Ramalho Mendes" userId="bb2291e0-f53c-426c-bc7e-e6da289e7b4f" providerId="ADAL" clId="{061FDF7F-9982-4F40-8DE4-40EECBDFA11B}" dt="2021-01-15T16:54:01.573" v="53" actId="1035"/>
          <ac:spMkLst>
            <pc:docMk/>
            <pc:sldMk cId="3182445471" sldId="8816"/>
            <ac:spMk id="54" creationId="{E8CCE990-9D82-4785-8DFC-D81C194EF658}"/>
          </ac:spMkLst>
        </pc:spChg>
        <pc:spChg chg="mod">
          <ac:chgData name="u003487 Tereza Salgueiro Ramalho Mendes" userId="bb2291e0-f53c-426c-bc7e-e6da289e7b4f" providerId="ADAL" clId="{061FDF7F-9982-4F40-8DE4-40EECBDFA11B}" dt="2021-01-15T16:54:04.506" v="54" actId="13926"/>
          <ac:spMkLst>
            <pc:docMk/>
            <pc:sldMk cId="3182445471" sldId="8816"/>
            <ac:spMk id="55" creationId="{52CFAC0B-C4AB-400C-9AB7-D7CEF3655112}"/>
          </ac:spMkLst>
        </pc:spChg>
        <pc:graphicFrameChg chg="mod modGraphic">
          <ac:chgData name="u003487 Tereza Salgueiro Ramalho Mendes" userId="bb2291e0-f53c-426c-bc7e-e6da289e7b4f" providerId="ADAL" clId="{061FDF7F-9982-4F40-8DE4-40EECBDFA11B}" dt="2021-01-18T19:25:04.200" v="66" actId="207"/>
          <ac:graphicFrameMkLst>
            <pc:docMk/>
            <pc:sldMk cId="3182445471" sldId="8816"/>
            <ac:graphicFrameMk id="7" creationId="{16CB7E22-3BAD-4002-B248-E208A823C213}"/>
          </ac:graphicFrameMkLst>
        </pc:graphicFrameChg>
      </pc:sldChg>
      <pc:sldChg chg="modSp">
        <pc:chgData name="u003487 Tereza Salgueiro Ramalho Mendes" userId="bb2291e0-f53c-426c-bc7e-e6da289e7b4f" providerId="ADAL" clId="{061FDF7F-9982-4F40-8DE4-40EECBDFA11B}" dt="2021-01-15T16:53:12.781" v="39" actId="20577"/>
        <pc:sldMkLst>
          <pc:docMk/>
          <pc:sldMk cId="2025934884" sldId="8817"/>
        </pc:sldMkLst>
        <pc:spChg chg="mod">
          <ac:chgData name="u003487 Tereza Salgueiro Ramalho Mendes" userId="bb2291e0-f53c-426c-bc7e-e6da289e7b4f" providerId="ADAL" clId="{061FDF7F-9982-4F40-8DE4-40EECBDFA11B}" dt="2021-01-15T16:53:03.164" v="37" actId="20577"/>
          <ac:spMkLst>
            <pc:docMk/>
            <pc:sldMk cId="2025934884" sldId="8817"/>
            <ac:spMk id="23" creationId="{9B09B1FB-7F54-4443-B5E4-EC261230603C}"/>
          </ac:spMkLst>
        </pc:spChg>
        <pc:spChg chg="mod">
          <ac:chgData name="u003487 Tereza Salgueiro Ramalho Mendes" userId="bb2291e0-f53c-426c-bc7e-e6da289e7b4f" providerId="ADAL" clId="{061FDF7F-9982-4F40-8DE4-40EECBDFA11B}" dt="2021-01-15T16:53:12.781" v="39" actId="20577"/>
          <ac:spMkLst>
            <pc:docMk/>
            <pc:sldMk cId="2025934884" sldId="8817"/>
            <ac:spMk id="57" creationId="{607DFE4D-0CF2-4D5C-B238-F45ED141D961}"/>
          </ac:spMkLst>
        </pc:spChg>
      </pc:sldChg>
    </pc:docChg>
  </pc:docChgLst>
  <pc:docChgLst>
    <pc:chgData name="Roberto Sprengel" userId="b0572af8-69f1-4f08-9098-b32f3a8b9bcd" providerId="ADAL" clId="{2407323E-63EC-42D0-8B27-7C4138523F45}"/>
    <pc:docChg chg="undo custSel modSld">
      <pc:chgData name="Roberto Sprengel" userId="b0572af8-69f1-4f08-9098-b32f3a8b9bcd" providerId="ADAL" clId="{2407323E-63EC-42D0-8B27-7C4138523F45}" dt="2021-01-13T18:56:26.349" v="34" actId="20577"/>
      <pc:docMkLst>
        <pc:docMk/>
      </pc:docMkLst>
      <pc:sldChg chg="modSp">
        <pc:chgData name="Roberto Sprengel" userId="b0572af8-69f1-4f08-9098-b32f3a8b9bcd" providerId="ADAL" clId="{2407323E-63EC-42D0-8B27-7C4138523F45}" dt="2021-01-11T19:33:23.797" v="0" actId="1076"/>
        <pc:sldMkLst>
          <pc:docMk/>
          <pc:sldMk cId="3578439707" sldId="8812"/>
        </pc:sldMkLst>
        <pc:spChg chg="mod">
          <ac:chgData name="Roberto Sprengel" userId="b0572af8-69f1-4f08-9098-b32f3a8b9bcd" providerId="ADAL" clId="{2407323E-63EC-42D0-8B27-7C4138523F45}" dt="2021-01-11T19:33:23.797" v="0" actId="1076"/>
          <ac:spMkLst>
            <pc:docMk/>
            <pc:sldMk cId="3578439707" sldId="8812"/>
            <ac:spMk id="67" creationId="{7E3071DE-A2D9-480B-91E3-8C46F616E649}"/>
          </ac:spMkLst>
        </pc:spChg>
      </pc:sldChg>
      <pc:sldChg chg="delSp modSp">
        <pc:chgData name="Roberto Sprengel" userId="b0572af8-69f1-4f08-9098-b32f3a8b9bcd" providerId="ADAL" clId="{2407323E-63EC-42D0-8B27-7C4138523F45}" dt="2021-01-13T18:56:26.349" v="34" actId="20577"/>
        <pc:sldMkLst>
          <pc:docMk/>
          <pc:sldMk cId="1217463327" sldId="8813"/>
        </pc:sldMkLst>
        <pc:spChg chg="mod">
          <ac:chgData name="Roberto Sprengel" userId="b0572af8-69f1-4f08-9098-b32f3a8b9bcd" providerId="ADAL" clId="{2407323E-63EC-42D0-8B27-7C4138523F45}" dt="2021-01-13T18:51:00.844" v="14" actId="20577"/>
          <ac:spMkLst>
            <pc:docMk/>
            <pc:sldMk cId="1217463327" sldId="8813"/>
            <ac:spMk id="44" creationId="{393ACC8F-9FD8-433D-9C7B-2ED25C59A8D5}"/>
          </ac:spMkLst>
        </pc:spChg>
        <pc:spChg chg="mod">
          <ac:chgData name="Roberto Sprengel" userId="b0572af8-69f1-4f08-9098-b32f3a8b9bcd" providerId="ADAL" clId="{2407323E-63EC-42D0-8B27-7C4138523F45}" dt="2021-01-13T18:46:45.110" v="4" actId="14100"/>
          <ac:spMkLst>
            <pc:docMk/>
            <pc:sldMk cId="1217463327" sldId="8813"/>
            <ac:spMk id="65" creationId="{356D67B7-4175-41BD-8F6E-ADDAD3AF47ED}"/>
          </ac:spMkLst>
        </pc:spChg>
        <pc:spChg chg="mod">
          <ac:chgData name="Roberto Sprengel" userId="b0572af8-69f1-4f08-9098-b32f3a8b9bcd" providerId="ADAL" clId="{2407323E-63EC-42D0-8B27-7C4138523F45}" dt="2021-01-13T18:54:27.652" v="28" actId="14100"/>
          <ac:spMkLst>
            <pc:docMk/>
            <pc:sldMk cId="1217463327" sldId="8813"/>
            <ac:spMk id="66" creationId="{0193F79A-66BB-4BAB-AC23-13A19CDCF3BC}"/>
          </ac:spMkLst>
        </pc:spChg>
        <pc:spChg chg="del">
          <ac:chgData name="Roberto Sprengel" userId="b0572af8-69f1-4f08-9098-b32f3a8b9bcd" providerId="ADAL" clId="{2407323E-63EC-42D0-8B27-7C4138523F45}" dt="2021-01-13T18:46:38.630" v="2" actId="478"/>
          <ac:spMkLst>
            <pc:docMk/>
            <pc:sldMk cId="1217463327" sldId="8813"/>
            <ac:spMk id="67" creationId="{7E3071DE-A2D9-480B-91E3-8C46F616E649}"/>
          </ac:spMkLst>
        </pc:spChg>
        <pc:spChg chg="del">
          <ac:chgData name="Roberto Sprengel" userId="b0572af8-69f1-4f08-9098-b32f3a8b9bcd" providerId="ADAL" clId="{2407323E-63EC-42D0-8B27-7C4138523F45}" dt="2021-01-13T18:46:37.694" v="1" actId="478"/>
          <ac:spMkLst>
            <pc:docMk/>
            <pc:sldMk cId="1217463327" sldId="8813"/>
            <ac:spMk id="68" creationId="{0C2CF502-3061-4A53-94C0-7AA3BD3356F9}"/>
          </ac:spMkLst>
        </pc:spChg>
        <pc:spChg chg="mod">
          <ac:chgData name="Roberto Sprengel" userId="b0572af8-69f1-4f08-9098-b32f3a8b9bcd" providerId="ADAL" clId="{2407323E-63EC-42D0-8B27-7C4138523F45}" dt="2021-01-13T18:56:26.349" v="34" actId="20577"/>
          <ac:spMkLst>
            <pc:docMk/>
            <pc:sldMk cId="1217463327" sldId="8813"/>
            <ac:spMk id="69" creationId="{B9FE4F48-8A3B-47DB-A060-DACAB634292B}"/>
          </ac:spMkLst>
        </pc:spChg>
        <pc:spChg chg="del">
          <ac:chgData name="Roberto Sprengel" userId="b0572af8-69f1-4f08-9098-b32f3a8b9bcd" providerId="ADAL" clId="{2407323E-63EC-42D0-8B27-7C4138523F45}" dt="2021-01-13T18:46:41.109" v="3" actId="478"/>
          <ac:spMkLst>
            <pc:docMk/>
            <pc:sldMk cId="1217463327" sldId="8813"/>
            <ac:spMk id="75" creationId="{74913BB5-A723-437D-8E4B-B870A232CB79}"/>
          </ac:spMkLst>
        </pc:spChg>
        <pc:spChg chg="mod">
          <ac:chgData name="Roberto Sprengel" userId="b0572af8-69f1-4f08-9098-b32f3a8b9bcd" providerId="ADAL" clId="{2407323E-63EC-42D0-8B27-7C4138523F45}" dt="2021-01-13T18:50:56.507" v="12" actId="20577"/>
          <ac:spMkLst>
            <pc:docMk/>
            <pc:sldMk cId="1217463327" sldId="8813"/>
            <ac:spMk id="81" creationId="{8922C9D7-ADE3-4E9D-817B-D9EC7A9FCE64}"/>
          </ac:spMkLst>
        </pc:spChg>
      </pc:sldChg>
    </pc:docChg>
  </pc:docChgLst>
  <pc:docChgLst>
    <pc:chgData name="u003487 Tereza Salgueiro Ramalho Mendes" userId="bb2291e0-f53c-426c-bc7e-e6da289e7b4f" providerId="ADAL" clId="{77B9A0F8-9A72-497F-84B0-B4507D7F35A7}"/>
    <pc:docChg chg="undo custSel modSld">
      <pc:chgData name="u003487 Tereza Salgueiro Ramalho Mendes" userId="bb2291e0-f53c-426c-bc7e-e6da289e7b4f" providerId="ADAL" clId="{77B9A0F8-9A72-497F-84B0-B4507D7F35A7}" dt="2021-01-12T22:04:44.578" v="1405" actId="20577"/>
      <pc:docMkLst>
        <pc:docMk/>
      </pc:docMkLst>
      <pc:sldChg chg="modSp">
        <pc:chgData name="u003487 Tereza Salgueiro Ramalho Mendes" userId="bb2291e0-f53c-426c-bc7e-e6da289e7b4f" providerId="ADAL" clId="{77B9A0F8-9A72-497F-84B0-B4507D7F35A7}" dt="2021-01-12T19:58:46.100" v="1040" actId="20577"/>
        <pc:sldMkLst>
          <pc:docMk/>
          <pc:sldMk cId="720035197" sldId="8808"/>
        </pc:sldMkLst>
        <pc:spChg chg="mod">
          <ac:chgData name="u003487 Tereza Salgueiro Ramalho Mendes" userId="bb2291e0-f53c-426c-bc7e-e6da289e7b4f" providerId="ADAL" clId="{77B9A0F8-9A72-497F-84B0-B4507D7F35A7}" dt="2021-01-12T19:58:46.100" v="1040" actId="20577"/>
          <ac:spMkLst>
            <pc:docMk/>
            <pc:sldMk cId="720035197" sldId="8808"/>
            <ac:spMk id="34" creationId="{13B98DAC-4356-4A9A-BD8C-4EAF68F258AD}"/>
          </ac:spMkLst>
        </pc:spChg>
      </pc:sldChg>
      <pc:sldChg chg="modSp">
        <pc:chgData name="u003487 Tereza Salgueiro Ramalho Mendes" userId="bb2291e0-f53c-426c-bc7e-e6da289e7b4f" providerId="ADAL" clId="{77B9A0F8-9A72-497F-84B0-B4507D7F35A7}" dt="2021-01-12T19:29:55.885" v="173" actId="13926"/>
        <pc:sldMkLst>
          <pc:docMk/>
          <pc:sldMk cId="4150128491" sldId="8809"/>
        </pc:sldMkLst>
        <pc:graphicFrameChg chg="mod modGraphic">
          <ac:chgData name="u003487 Tereza Salgueiro Ramalho Mendes" userId="bb2291e0-f53c-426c-bc7e-e6da289e7b4f" providerId="ADAL" clId="{77B9A0F8-9A72-497F-84B0-B4507D7F35A7}" dt="2021-01-12T19:29:55.885" v="173" actId="13926"/>
          <ac:graphicFrameMkLst>
            <pc:docMk/>
            <pc:sldMk cId="4150128491" sldId="8809"/>
            <ac:graphicFrameMk id="7" creationId="{16CB7E22-3BAD-4002-B248-E208A823C213}"/>
          </ac:graphicFrameMkLst>
        </pc:graphicFrameChg>
      </pc:sldChg>
      <pc:sldChg chg="modSp">
        <pc:chgData name="u003487 Tereza Salgueiro Ramalho Mendes" userId="bb2291e0-f53c-426c-bc7e-e6da289e7b4f" providerId="ADAL" clId="{77B9A0F8-9A72-497F-84B0-B4507D7F35A7}" dt="2021-01-12T22:02:49.183" v="1388" actId="20577"/>
        <pc:sldMkLst>
          <pc:docMk/>
          <pc:sldMk cId="3578439707" sldId="8812"/>
        </pc:sldMkLst>
        <pc:spChg chg="mod">
          <ac:chgData name="u003487 Tereza Salgueiro Ramalho Mendes" userId="bb2291e0-f53c-426c-bc7e-e6da289e7b4f" providerId="ADAL" clId="{77B9A0F8-9A72-497F-84B0-B4507D7F35A7}" dt="2021-01-12T21:56:07.692" v="1322" actId="1036"/>
          <ac:spMkLst>
            <pc:docMk/>
            <pc:sldMk cId="3578439707" sldId="8812"/>
            <ac:spMk id="44" creationId="{393ACC8F-9FD8-433D-9C7B-2ED25C59A8D5}"/>
          </ac:spMkLst>
        </pc:spChg>
        <pc:spChg chg="mod">
          <ac:chgData name="u003487 Tereza Salgueiro Ramalho Mendes" userId="bb2291e0-f53c-426c-bc7e-e6da289e7b4f" providerId="ADAL" clId="{77B9A0F8-9A72-497F-84B0-B4507D7F35A7}" dt="2021-01-12T22:02:49.183" v="1388" actId="20577"/>
          <ac:spMkLst>
            <pc:docMk/>
            <pc:sldMk cId="3578439707" sldId="8812"/>
            <ac:spMk id="69" creationId="{B9FE4F48-8A3B-47DB-A060-DACAB634292B}"/>
          </ac:spMkLst>
        </pc:spChg>
        <pc:spChg chg="mod">
          <ac:chgData name="u003487 Tereza Salgueiro Ramalho Mendes" userId="bb2291e0-f53c-426c-bc7e-e6da289e7b4f" providerId="ADAL" clId="{77B9A0F8-9A72-497F-84B0-B4507D7F35A7}" dt="2021-01-12T21:17:33.942" v="1117" actId="20577"/>
          <ac:spMkLst>
            <pc:docMk/>
            <pc:sldMk cId="3578439707" sldId="8812"/>
            <ac:spMk id="80" creationId="{C02E49D9-2559-46E5-BD48-5B29611B7D74}"/>
          </ac:spMkLst>
        </pc:spChg>
        <pc:spChg chg="mod">
          <ac:chgData name="u003487 Tereza Salgueiro Ramalho Mendes" userId="bb2291e0-f53c-426c-bc7e-e6da289e7b4f" providerId="ADAL" clId="{77B9A0F8-9A72-497F-84B0-B4507D7F35A7}" dt="2021-01-12T21:56:15.726" v="1323"/>
          <ac:spMkLst>
            <pc:docMk/>
            <pc:sldMk cId="3578439707" sldId="8812"/>
            <ac:spMk id="81" creationId="{8922C9D7-ADE3-4E9D-817B-D9EC7A9FCE64}"/>
          </ac:spMkLst>
        </pc:spChg>
        <pc:spChg chg="mod">
          <ac:chgData name="u003487 Tereza Salgueiro Ramalho Mendes" userId="bb2291e0-f53c-426c-bc7e-e6da289e7b4f" providerId="ADAL" clId="{77B9A0F8-9A72-497F-84B0-B4507D7F35A7}" dt="2021-01-12T21:18:20.659" v="1120" actId="20577"/>
          <ac:spMkLst>
            <pc:docMk/>
            <pc:sldMk cId="3578439707" sldId="8812"/>
            <ac:spMk id="88" creationId="{BCF0A579-943E-4259-A510-72D4D101BD2D}"/>
          </ac:spMkLst>
        </pc:spChg>
        <pc:spChg chg="mod">
          <ac:chgData name="u003487 Tereza Salgueiro Ramalho Mendes" userId="bb2291e0-f53c-426c-bc7e-e6da289e7b4f" providerId="ADAL" clId="{77B9A0F8-9A72-497F-84B0-B4507D7F35A7}" dt="2021-01-12T21:17:06.018" v="1116" actId="20577"/>
          <ac:spMkLst>
            <pc:docMk/>
            <pc:sldMk cId="3578439707" sldId="8812"/>
            <ac:spMk id="92" creationId="{5D799C9A-4A93-4CB1-9197-7FD7BDB5FFC0}"/>
          </ac:spMkLst>
        </pc:spChg>
        <pc:graphicFrameChg chg="modGraphic">
          <ac:chgData name="u003487 Tereza Salgueiro Ramalho Mendes" userId="bb2291e0-f53c-426c-bc7e-e6da289e7b4f" providerId="ADAL" clId="{77B9A0F8-9A72-497F-84B0-B4507D7F35A7}" dt="2021-01-12T12:18:23.140" v="18" actId="13926"/>
          <ac:graphicFrameMkLst>
            <pc:docMk/>
            <pc:sldMk cId="3578439707" sldId="8812"/>
            <ac:graphicFrameMk id="60" creationId="{95F74F7E-C162-4B94-9980-BA41F9700C4C}"/>
          </ac:graphicFrameMkLst>
        </pc:graphicFrameChg>
      </pc:sldChg>
      <pc:sldChg chg="modSp">
        <pc:chgData name="u003487 Tereza Salgueiro Ramalho Mendes" userId="bb2291e0-f53c-426c-bc7e-e6da289e7b4f" providerId="ADAL" clId="{77B9A0F8-9A72-497F-84B0-B4507D7F35A7}" dt="2021-01-12T22:04:44.578" v="1405" actId="20577"/>
        <pc:sldMkLst>
          <pc:docMk/>
          <pc:sldMk cId="1217463327" sldId="8813"/>
        </pc:sldMkLst>
        <pc:spChg chg="mod">
          <ac:chgData name="u003487 Tereza Salgueiro Ramalho Mendes" userId="bb2291e0-f53c-426c-bc7e-e6da289e7b4f" providerId="ADAL" clId="{77B9A0F8-9A72-497F-84B0-B4507D7F35A7}" dt="2021-01-12T22:01:12.364" v="1348" actId="20577"/>
          <ac:spMkLst>
            <pc:docMk/>
            <pc:sldMk cId="1217463327" sldId="8813"/>
            <ac:spMk id="44" creationId="{393ACC8F-9FD8-433D-9C7B-2ED25C59A8D5}"/>
          </ac:spMkLst>
        </pc:spChg>
        <pc:spChg chg="mod">
          <ac:chgData name="u003487 Tereza Salgueiro Ramalho Mendes" userId="bb2291e0-f53c-426c-bc7e-e6da289e7b4f" providerId="ADAL" clId="{77B9A0F8-9A72-497F-84B0-B4507D7F35A7}" dt="2021-01-12T22:04:30.125" v="1397" actId="13926"/>
          <ac:spMkLst>
            <pc:docMk/>
            <pc:sldMk cId="1217463327" sldId="8813"/>
            <ac:spMk id="68" creationId="{0C2CF502-3061-4A53-94C0-7AA3BD3356F9}"/>
          </ac:spMkLst>
        </pc:spChg>
        <pc:spChg chg="mod">
          <ac:chgData name="u003487 Tereza Salgueiro Ramalho Mendes" userId="bb2291e0-f53c-426c-bc7e-e6da289e7b4f" providerId="ADAL" clId="{77B9A0F8-9A72-497F-84B0-B4507D7F35A7}" dt="2021-01-12T22:04:32.086" v="1398" actId="13926"/>
          <ac:spMkLst>
            <pc:docMk/>
            <pc:sldMk cId="1217463327" sldId="8813"/>
            <ac:spMk id="69" creationId="{B9FE4F48-8A3B-47DB-A060-DACAB634292B}"/>
          </ac:spMkLst>
        </pc:spChg>
        <pc:spChg chg="mod">
          <ac:chgData name="u003487 Tereza Salgueiro Ramalho Mendes" userId="bb2291e0-f53c-426c-bc7e-e6da289e7b4f" providerId="ADAL" clId="{77B9A0F8-9A72-497F-84B0-B4507D7F35A7}" dt="2021-01-12T22:04:44.578" v="1405" actId="20577"/>
          <ac:spMkLst>
            <pc:docMk/>
            <pc:sldMk cId="1217463327" sldId="8813"/>
            <ac:spMk id="70" creationId="{9FB8BE57-8CE1-404F-A11D-6027FDE68ECD}"/>
          </ac:spMkLst>
        </pc:spChg>
        <pc:spChg chg="mod">
          <ac:chgData name="u003487 Tereza Salgueiro Ramalho Mendes" userId="bb2291e0-f53c-426c-bc7e-e6da289e7b4f" providerId="ADAL" clId="{77B9A0F8-9A72-497F-84B0-B4507D7F35A7}" dt="2021-01-12T22:04:33.903" v="1399" actId="13926"/>
          <ac:spMkLst>
            <pc:docMk/>
            <pc:sldMk cId="1217463327" sldId="8813"/>
            <ac:spMk id="81" creationId="{8922C9D7-ADE3-4E9D-817B-D9EC7A9FCE64}"/>
          </ac:spMkLst>
        </pc:spChg>
        <pc:spChg chg="mod">
          <ac:chgData name="u003487 Tereza Salgueiro Ramalho Mendes" userId="bb2291e0-f53c-426c-bc7e-e6da289e7b4f" providerId="ADAL" clId="{77B9A0F8-9A72-497F-84B0-B4507D7F35A7}" dt="2021-01-12T22:04:41.941" v="1403" actId="20577"/>
          <ac:spMkLst>
            <pc:docMk/>
            <pc:sldMk cId="1217463327" sldId="8813"/>
            <ac:spMk id="83" creationId="{1C01FE5B-EBEC-441E-ABA9-79B777AA7D60}"/>
          </ac:spMkLst>
        </pc:spChg>
        <pc:spChg chg="mod">
          <ac:chgData name="u003487 Tereza Salgueiro Ramalho Mendes" userId="bb2291e0-f53c-426c-bc7e-e6da289e7b4f" providerId="ADAL" clId="{77B9A0F8-9A72-497F-84B0-B4507D7F35A7}" dt="2021-01-12T21:18:24.336" v="1122" actId="20577"/>
          <ac:spMkLst>
            <pc:docMk/>
            <pc:sldMk cId="1217463327" sldId="8813"/>
            <ac:spMk id="107" creationId="{F6305DFE-4472-4826-9F91-C895B992BE6B}"/>
          </ac:spMkLst>
        </pc:spChg>
        <pc:spChg chg="mod">
          <ac:chgData name="u003487 Tereza Salgueiro Ramalho Mendes" userId="bb2291e0-f53c-426c-bc7e-e6da289e7b4f" providerId="ADAL" clId="{77B9A0F8-9A72-497F-84B0-B4507D7F35A7}" dt="2021-01-12T21:17:02.999" v="1115" actId="20577"/>
          <ac:spMkLst>
            <pc:docMk/>
            <pc:sldMk cId="1217463327" sldId="8813"/>
            <ac:spMk id="111" creationId="{A3F6A612-B537-436A-8D4E-962BE808C63B}"/>
          </ac:spMkLst>
        </pc:spChg>
        <pc:spChg chg="mod">
          <ac:chgData name="u003487 Tereza Salgueiro Ramalho Mendes" userId="bb2291e0-f53c-426c-bc7e-e6da289e7b4f" providerId="ADAL" clId="{77B9A0F8-9A72-497F-84B0-B4507D7F35A7}" dt="2021-01-12T21:17:42.364" v="1118" actId="20577"/>
          <ac:spMkLst>
            <pc:docMk/>
            <pc:sldMk cId="1217463327" sldId="8813"/>
            <ac:spMk id="115" creationId="{D05B6B35-A1EE-4F44-B0CD-6509C79B7E03}"/>
          </ac:spMkLst>
        </pc:spChg>
        <pc:graphicFrameChg chg="modGraphic">
          <ac:chgData name="u003487 Tereza Salgueiro Ramalho Mendes" userId="bb2291e0-f53c-426c-bc7e-e6da289e7b4f" providerId="ADAL" clId="{77B9A0F8-9A72-497F-84B0-B4507D7F35A7}" dt="2021-01-12T12:18:28.500" v="22" actId="13926"/>
          <ac:graphicFrameMkLst>
            <pc:docMk/>
            <pc:sldMk cId="1217463327" sldId="8813"/>
            <ac:graphicFrameMk id="72" creationId="{8873D12B-D705-4978-8DEF-54E51B6AC481}"/>
          </ac:graphicFrameMkLst>
        </pc:graphicFrameChg>
      </pc:sldChg>
      <pc:sldChg chg="modSp">
        <pc:chgData name="u003487 Tereza Salgueiro Ramalho Mendes" userId="bb2291e0-f53c-426c-bc7e-e6da289e7b4f" providerId="ADAL" clId="{77B9A0F8-9A72-497F-84B0-B4507D7F35A7}" dt="2021-01-12T21:52:57.223" v="1257" actId="13926"/>
        <pc:sldMkLst>
          <pc:docMk/>
          <pc:sldMk cId="4118331896" sldId="8815"/>
        </pc:sldMkLst>
        <pc:spChg chg="mod">
          <ac:chgData name="u003487 Tereza Salgueiro Ramalho Mendes" userId="bb2291e0-f53c-426c-bc7e-e6da289e7b4f" providerId="ADAL" clId="{77B9A0F8-9A72-497F-84B0-B4507D7F35A7}" dt="2021-01-12T20:01:16.116" v="1081" actId="20577"/>
          <ac:spMkLst>
            <pc:docMk/>
            <pc:sldMk cId="4118331896" sldId="8815"/>
            <ac:spMk id="34" creationId="{13B98DAC-4356-4A9A-BD8C-4EAF68F258AD}"/>
          </ac:spMkLst>
        </pc:spChg>
        <pc:spChg chg="mod">
          <ac:chgData name="u003487 Tereza Salgueiro Ramalho Mendes" userId="bb2291e0-f53c-426c-bc7e-e6da289e7b4f" providerId="ADAL" clId="{77B9A0F8-9A72-497F-84B0-B4507D7F35A7}" dt="2021-01-12T21:52:55.449" v="1256" actId="13926"/>
          <ac:spMkLst>
            <pc:docMk/>
            <pc:sldMk cId="4118331896" sldId="8815"/>
            <ac:spMk id="56" creationId="{0937C99F-7087-4FB0-98D0-DB2D96F1FEDC}"/>
          </ac:spMkLst>
        </pc:spChg>
        <pc:graphicFrameChg chg="modGraphic">
          <ac:chgData name="u003487 Tereza Salgueiro Ramalho Mendes" userId="bb2291e0-f53c-426c-bc7e-e6da289e7b4f" providerId="ADAL" clId="{77B9A0F8-9A72-497F-84B0-B4507D7F35A7}" dt="2021-01-12T21:52:57.223" v="1257" actId="13926"/>
          <ac:graphicFrameMkLst>
            <pc:docMk/>
            <pc:sldMk cId="4118331896" sldId="8815"/>
            <ac:graphicFrameMk id="28" creationId="{978F8D5F-6F43-4D63-90B6-1E68EDD61F0B}"/>
          </ac:graphicFrameMkLst>
        </pc:graphicFrameChg>
      </pc:sldChg>
    </pc:docChg>
  </pc:docChgLst>
  <pc:docChgLst>
    <pc:chgData name="Tereza Mendes" userId="bb2291e0-f53c-426c-bc7e-e6da289e7b4f" providerId="ADAL" clId="{7D1F2E19-8F1B-479D-B1B7-9293AB71106B}"/>
    <pc:docChg chg="undo custSel addSld delSld modSld sldOrd modSection">
      <pc:chgData name="Tereza Mendes" userId="bb2291e0-f53c-426c-bc7e-e6da289e7b4f" providerId="ADAL" clId="{7D1F2E19-8F1B-479D-B1B7-9293AB71106B}" dt="2020-11-24T13:16:28.909" v="4382" actId="20577"/>
      <pc:docMkLst>
        <pc:docMk/>
      </pc:docMkLst>
      <pc:sldChg chg="delSp modSp add">
        <pc:chgData name="Tereza Mendes" userId="bb2291e0-f53c-426c-bc7e-e6da289e7b4f" providerId="ADAL" clId="{7D1F2E19-8F1B-479D-B1B7-9293AB71106B}" dt="2020-11-24T13:16:28.909" v="4382" actId="20577"/>
        <pc:sldMkLst>
          <pc:docMk/>
          <pc:sldMk cId="2894463681" sldId="298"/>
        </pc:sldMkLst>
        <pc:spChg chg="del">
          <ac:chgData name="Tereza Mendes" userId="bb2291e0-f53c-426c-bc7e-e6da289e7b4f" providerId="ADAL" clId="{7D1F2E19-8F1B-479D-B1B7-9293AB71106B}" dt="2020-11-24T13:14:54.965" v="4125" actId="478"/>
          <ac:spMkLst>
            <pc:docMk/>
            <pc:sldMk cId="2894463681" sldId="298"/>
            <ac:spMk id="8" creationId="{D389A933-12EA-6F40-87CB-3275B6F0D8C0}"/>
          </ac:spMkLst>
        </pc:spChg>
        <pc:spChg chg="mod">
          <ac:chgData name="Tereza Mendes" userId="bb2291e0-f53c-426c-bc7e-e6da289e7b4f" providerId="ADAL" clId="{7D1F2E19-8F1B-479D-B1B7-9293AB71106B}" dt="2020-11-24T13:14:49.357" v="4123" actId="207"/>
          <ac:spMkLst>
            <pc:docMk/>
            <pc:sldMk cId="2894463681" sldId="298"/>
            <ac:spMk id="15" creationId="{EC814720-EBB1-F24B-8040-9F527AD7235F}"/>
          </ac:spMkLst>
        </pc:spChg>
        <pc:spChg chg="mod">
          <ac:chgData name="Tereza Mendes" userId="bb2291e0-f53c-426c-bc7e-e6da289e7b4f" providerId="ADAL" clId="{7D1F2E19-8F1B-479D-B1B7-9293AB71106B}" dt="2020-11-24T13:16:28.909" v="4382" actId="20577"/>
          <ac:spMkLst>
            <pc:docMk/>
            <pc:sldMk cId="2894463681" sldId="298"/>
            <ac:spMk id="17" creationId="{D2AFB1DA-0AA1-9144-93B9-B523DC4FFA7D}"/>
          </ac:spMkLst>
        </pc:spChg>
      </pc:sldChg>
      <pc:sldChg chg="del">
        <pc:chgData name="Tereza Mendes" userId="bb2291e0-f53c-426c-bc7e-e6da289e7b4f" providerId="ADAL" clId="{7D1F2E19-8F1B-479D-B1B7-9293AB71106B}" dt="2020-11-19T20:05:58.076" v="1247" actId="2696"/>
        <pc:sldMkLst>
          <pc:docMk/>
          <pc:sldMk cId="3755838402" sldId="2583"/>
        </pc:sldMkLst>
      </pc:sldChg>
      <pc:sldChg chg="ord">
        <pc:chgData name="Tereza Mendes" userId="bb2291e0-f53c-426c-bc7e-e6da289e7b4f" providerId="ADAL" clId="{7D1F2E19-8F1B-479D-B1B7-9293AB71106B}" dt="2020-11-19T21:44:10.147" v="1254"/>
        <pc:sldMkLst>
          <pc:docMk/>
          <pc:sldMk cId="1325684358" sldId="2586"/>
        </pc:sldMkLst>
      </pc:sldChg>
      <pc:sldChg chg="del">
        <pc:chgData name="Tereza Mendes" userId="bb2291e0-f53c-426c-bc7e-e6da289e7b4f" providerId="ADAL" clId="{7D1F2E19-8F1B-479D-B1B7-9293AB71106B}" dt="2020-11-19T20:06:08.297" v="1250" actId="2696"/>
        <pc:sldMkLst>
          <pc:docMk/>
          <pc:sldMk cId="1349598060" sldId="2587"/>
        </pc:sldMkLst>
      </pc:sldChg>
      <pc:sldChg chg="addSp delSp modSp ord">
        <pc:chgData name="Tereza Mendes" userId="bb2291e0-f53c-426c-bc7e-e6da289e7b4f" providerId="ADAL" clId="{7D1F2E19-8F1B-479D-B1B7-9293AB71106B}" dt="2020-11-23T12:08:16.184" v="2568" actId="207"/>
        <pc:sldMkLst>
          <pc:docMk/>
          <pc:sldMk cId="2723736128" sldId="2589"/>
        </pc:sldMkLst>
        <pc:spChg chg="del">
          <ac:chgData name="Tereza Mendes" userId="bb2291e0-f53c-426c-bc7e-e6da289e7b4f" providerId="ADAL" clId="{7D1F2E19-8F1B-479D-B1B7-9293AB71106B}" dt="2020-11-18T21:06:43.459" v="17" actId="478"/>
          <ac:spMkLst>
            <pc:docMk/>
            <pc:sldMk cId="2723736128" sldId="2589"/>
            <ac:spMk id="6" creationId="{BF6A61FA-43CC-4C9C-A246-716E949E2297}"/>
          </ac:spMkLst>
        </pc:spChg>
        <pc:spChg chg="add mod">
          <ac:chgData name="Tereza Mendes" userId="bb2291e0-f53c-426c-bc7e-e6da289e7b4f" providerId="ADAL" clId="{7D1F2E19-8F1B-479D-B1B7-9293AB71106B}" dt="2020-11-18T21:06:35.774" v="11" actId="14100"/>
          <ac:spMkLst>
            <pc:docMk/>
            <pc:sldMk cId="2723736128" sldId="2589"/>
            <ac:spMk id="95" creationId="{A2804F9A-26E1-4663-835E-03E7DDFB480C}"/>
          </ac:spMkLst>
        </pc:spChg>
        <pc:spChg chg="del">
          <ac:chgData name="Tereza Mendes" userId="bb2291e0-f53c-426c-bc7e-e6da289e7b4f" providerId="ADAL" clId="{7D1F2E19-8F1B-479D-B1B7-9293AB71106B}" dt="2020-11-18T21:06:43.459" v="17" actId="478"/>
          <ac:spMkLst>
            <pc:docMk/>
            <pc:sldMk cId="2723736128" sldId="2589"/>
            <ac:spMk id="127" creationId="{7F123D6E-5911-4FF7-959F-030968181221}"/>
          </ac:spMkLst>
        </pc:spChg>
        <pc:spChg chg="mod">
          <ac:chgData name="Tereza Mendes" userId="bb2291e0-f53c-426c-bc7e-e6da289e7b4f" providerId="ADAL" clId="{7D1F2E19-8F1B-479D-B1B7-9293AB71106B}" dt="2020-11-23T12:08:16.184" v="2568" actId="207"/>
          <ac:spMkLst>
            <pc:docMk/>
            <pc:sldMk cId="2723736128" sldId="2589"/>
            <ac:spMk id="128" creationId="{4E774676-C4FD-4665-8ABA-4EC144E3D6C1}"/>
          </ac:spMkLst>
        </pc:spChg>
      </pc:sldChg>
      <pc:sldChg chg="addSp delSp modSp ord">
        <pc:chgData name="Tereza Mendes" userId="bb2291e0-f53c-426c-bc7e-e6da289e7b4f" providerId="ADAL" clId="{7D1F2E19-8F1B-479D-B1B7-9293AB71106B}" dt="2020-11-24T13:16:18.908" v="4345" actId="478"/>
        <pc:sldMkLst>
          <pc:docMk/>
          <pc:sldMk cId="2577571386" sldId="2590"/>
        </pc:sldMkLst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1" creationId="{9CC4D179-AB7F-4F94-AD45-E0FEBBDCD657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34" creationId="{13B98DAC-4356-4A9A-BD8C-4EAF68F258AD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35" creationId="{1706A8F9-E956-4CAC-BE2F-4C652246BE32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36" creationId="{72EB498C-A1FD-4F6E-8930-44745C15D023}"/>
          </ac:spMkLst>
        </pc:spChg>
        <pc:spChg chg="add mod or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38" creationId="{55C5EEAF-63B8-4762-A3EB-9A151742638D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39" creationId="{1D08D58D-F359-4115-A407-627E88D2DAFC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0" creationId="{985C443C-6E93-40B0-9B36-4063432CD6F7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1" creationId="{CA48C484-B757-41E0-AB40-BAAF58746CAF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4" creationId="{0916DC77-9427-4674-9A9D-310202186E45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5" creationId="{4F8DFCB5-9A0B-4259-B060-EB786AC1D63B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6" creationId="{346080FC-74B7-4F15-A023-BD28959E5989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7" creationId="{E50CA4DD-FB4C-497A-8EAE-4B19B745691D}"/>
          </ac:spMkLst>
        </pc:spChg>
        <pc:spChg chg="add mod or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8" creationId="{21854D85-EEBA-4720-BE8D-0EC6965C3A63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49" creationId="{FDCC8433-E6B4-4863-AA32-C074A7266864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60" creationId="{1A4547FC-695A-447B-A80C-5272D1A4D4F7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61" creationId="{988C5432-471F-412D-8D75-3DD22FEE560D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79" creationId="{30100D6E-9EFD-46FA-9FDE-DE43880A7177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0" creationId="{BC001C0D-14E5-420B-B60E-C35D5DB8980F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1" creationId="{EFFC8FC4-7B85-4CA2-BF90-7A3524D123C8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2" creationId="{3AB715CC-1222-49E0-A489-4A9B141DFF70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3" creationId="{BA687A2C-0F4C-4FBB-93F2-C70609D1A357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4" creationId="{874A99FE-713F-441A-9B85-5B13787AFD29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5" creationId="{DADFEEF5-7E11-49B3-ABCA-55FFFAAB8F72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86" creationId="{11C986D7-FA9E-45A4-9401-CDBEFA971933}"/>
          </ac:spMkLst>
        </pc:spChg>
        <pc:spChg chg="del mod">
          <ac:chgData name="Tereza Mendes" userId="bb2291e0-f53c-426c-bc7e-e6da289e7b4f" providerId="ADAL" clId="{7D1F2E19-8F1B-479D-B1B7-9293AB71106B}" dt="2020-11-24T13:16:18.908" v="4345" actId="478"/>
          <ac:spMkLst>
            <pc:docMk/>
            <pc:sldMk cId="2577571386" sldId="2590"/>
            <ac:spMk id="87" creationId="{6021756B-5A1F-4F5A-A4E2-C28D768AA1D6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90" creationId="{19DB8CFC-9D4F-419D-B59A-5ABAA4967664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91" creationId="{F46735A8-5774-4D16-8F18-9450E1A92FE6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92" creationId="{95814B66-6E1C-41AA-A649-BC0416002D10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93" creationId="{D321E8F1-34D4-4723-AC87-59B273D67F48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07" creationId="{784CF01E-EEAF-46FE-95E4-C2AE0FD3F2AE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08" creationId="{1C177C8D-9171-4340-ABBB-40FFEBEF25A2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09" creationId="{25046BA0-4C83-4F2E-B8A6-E86C0E183A69}"/>
          </ac:spMkLst>
        </pc:spChg>
        <pc:spChg chg="mod">
          <ac:chgData name="Tereza Mendes" userId="bb2291e0-f53c-426c-bc7e-e6da289e7b4f" providerId="ADAL" clId="{7D1F2E19-8F1B-479D-B1B7-9293AB71106B}" dt="2020-11-19T22:05:48.194" v="1810" actId="1036"/>
          <ac:spMkLst>
            <pc:docMk/>
            <pc:sldMk cId="2577571386" sldId="2590"/>
            <ac:spMk id="110" creationId="{FCEA9A72-FF0B-405B-B559-12CD5440F803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20" creationId="{E3C2D6D0-3469-4D29-93B8-01E83E67129A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21" creationId="{A8934BDF-07E0-4B5A-9728-F03F3F041F54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22" creationId="{93869E89-AE3B-471F-BFBF-1A543A8B896D}"/>
          </ac:spMkLst>
        </pc:spChg>
        <pc:spChg chg="mod">
          <ac:chgData name="Tereza Mendes" userId="bb2291e0-f53c-426c-bc7e-e6da289e7b4f" providerId="ADAL" clId="{7D1F2E19-8F1B-479D-B1B7-9293AB71106B}" dt="2020-11-19T22:06:01.627" v="1822" actId="1036"/>
          <ac:spMkLst>
            <pc:docMk/>
            <pc:sldMk cId="2577571386" sldId="2590"/>
            <ac:spMk id="123" creationId="{AB24565F-5051-4ADD-8F9F-49BEF42A45D7}"/>
          </ac:spMkLst>
        </pc:spChg>
        <pc:cxnChg chg="add mod">
          <ac:chgData name="Tereza Mendes" userId="bb2291e0-f53c-426c-bc7e-e6da289e7b4f" providerId="ADAL" clId="{7D1F2E19-8F1B-479D-B1B7-9293AB71106B}" dt="2020-11-19T22:06:01.627" v="1822" actId="1036"/>
          <ac:cxnSpMkLst>
            <pc:docMk/>
            <pc:sldMk cId="2577571386" sldId="2590"/>
            <ac:cxnSpMk id="42" creationId="{4A856AD9-FCA7-474E-A35A-A74F468AEE88}"/>
          </ac:cxnSpMkLst>
        </pc:cxnChg>
        <pc:cxnChg chg="add mod">
          <ac:chgData name="Tereza Mendes" userId="bb2291e0-f53c-426c-bc7e-e6da289e7b4f" providerId="ADAL" clId="{7D1F2E19-8F1B-479D-B1B7-9293AB71106B}" dt="2020-11-19T22:06:01.627" v="1822" actId="1036"/>
          <ac:cxnSpMkLst>
            <pc:docMk/>
            <pc:sldMk cId="2577571386" sldId="2590"/>
            <ac:cxnSpMk id="43" creationId="{91ACA5D6-D584-4B1C-9E79-75F3F1F70918}"/>
          </ac:cxnSpMkLst>
        </pc:cxnChg>
      </pc:sldChg>
      <pc:sldChg chg="del">
        <pc:chgData name="Tereza Mendes" userId="bb2291e0-f53c-426c-bc7e-e6da289e7b4f" providerId="ADAL" clId="{7D1F2E19-8F1B-479D-B1B7-9293AB71106B}" dt="2020-11-19T20:05:54.398" v="1246" actId="2696"/>
        <pc:sldMkLst>
          <pc:docMk/>
          <pc:sldMk cId="621440873" sldId="2591"/>
        </pc:sldMkLst>
      </pc:sldChg>
      <pc:sldChg chg="modSp ord">
        <pc:chgData name="Tereza Mendes" userId="bb2291e0-f53c-426c-bc7e-e6da289e7b4f" providerId="ADAL" clId="{7D1F2E19-8F1B-479D-B1B7-9293AB71106B}" dt="2020-11-19T22:05:13.950" v="1801"/>
        <pc:sldMkLst>
          <pc:docMk/>
          <pc:sldMk cId="195302004" sldId="2592"/>
        </pc:sldMkLst>
        <pc:spChg chg="mod">
          <ac:chgData name="Tereza Mendes" userId="bb2291e0-f53c-426c-bc7e-e6da289e7b4f" providerId="ADAL" clId="{7D1F2E19-8F1B-479D-B1B7-9293AB71106B}" dt="2020-11-19T19:40:09.821" v="1167" actId="1036"/>
          <ac:spMkLst>
            <pc:docMk/>
            <pc:sldMk cId="195302004" sldId="2592"/>
            <ac:spMk id="41" creationId="{A0462919-FC07-49ED-BCE3-A07B5D48CEE8}"/>
          </ac:spMkLst>
        </pc:spChg>
        <pc:spChg chg="mod">
          <ac:chgData name="Tereza Mendes" userId="bb2291e0-f53c-426c-bc7e-e6da289e7b4f" providerId="ADAL" clId="{7D1F2E19-8F1B-479D-B1B7-9293AB71106B}" dt="2020-11-19T19:40:13.631" v="1168" actId="1035"/>
          <ac:spMkLst>
            <pc:docMk/>
            <pc:sldMk cId="195302004" sldId="2592"/>
            <ac:spMk id="42" creationId="{0B380F6B-A716-44DD-8B35-54BC2B0F29E4}"/>
          </ac:spMkLst>
        </pc:spChg>
        <pc:spChg chg="mod">
          <ac:chgData name="Tereza Mendes" userId="bb2291e0-f53c-426c-bc7e-e6da289e7b4f" providerId="ADAL" clId="{7D1F2E19-8F1B-479D-B1B7-9293AB71106B}" dt="2020-11-19T19:40:09.821" v="1167" actId="1036"/>
          <ac:spMkLst>
            <pc:docMk/>
            <pc:sldMk cId="195302004" sldId="2592"/>
            <ac:spMk id="44" creationId="{3E2A5FDF-C043-4DC7-BD56-F823B2FC7726}"/>
          </ac:spMkLst>
        </pc:spChg>
        <pc:spChg chg="mod">
          <ac:chgData name="Tereza Mendes" userId="bb2291e0-f53c-426c-bc7e-e6da289e7b4f" providerId="ADAL" clId="{7D1F2E19-8F1B-479D-B1B7-9293AB71106B}" dt="2020-11-19T19:40:09.821" v="1167" actId="1036"/>
          <ac:spMkLst>
            <pc:docMk/>
            <pc:sldMk cId="195302004" sldId="2592"/>
            <ac:spMk id="46" creationId="{DC700DBE-0AEB-446B-80A5-DC3F01B9AEBF}"/>
          </ac:spMkLst>
        </pc:spChg>
        <pc:spChg chg="mod">
          <ac:chgData name="Tereza Mendes" userId="bb2291e0-f53c-426c-bc7e-e6da289e7b4f" providerId="ADAL" clId="{7D1F2E19-8F1B-479D-B1B7-9293AB71106B}" dt="2020-11-19T19:40:09.821" v="1167" actId="1036"/>
          <ac:spMkLst>
            <pc:docMk/>
            <pc:sldMk cId="195302004" sldId="2592"/>
            <ac:spMk id="47" creationId="{896BEBC5-E469-4FEA-A7B6-56FCBEA3EF39}"/>
          </ac:spMkLst>
        </pc:spChg>
        <pc:spChg chg="mod">
          <ac:chgData name="Tereza Mendes" userId="bb2291e0-f53c-426c-bc7e-e6da289e7b4f" providerId="ADAL" clId="{7D1F2E19-8F1B-479D-B1B7-9293AB71106B}" dt="2020-11-19T19:40:09.821" v="1167" actId="1036"/>
          <ac:spMkLst>
            <pc:docMk/>
            <pc:sldMk cId="195302004" sldId="2592"/>
            <ac:spMk id="48" creationId="{A1F1BB05-F92E-4B51-A2BD-766606A42346}"/>
          </ac:spMkLst>
        </pc:spChg>
      </pc:sldChg>
      <pc:sldChg chg="del">
        <pc:chgData name="Tereza Mendes" userId="bb2291e0-f53c-426c-bc7e-e6da289e7b4f" providerId="ADAL" clId="{7D1F2E19-8F1B-479D-B1B7-9293AB71106B}" dt="2020-11-19T20:06:00.581" v="1248" actId="2696"/>
        <pc:sldMkLst>
          <pc:docMk/>
          <pc:sldMk cId="3116822891" sldId="2595"/>
        </pc:sldMkLst>
      </pc:sldChg>
      <pc:sldChg chg="del">
        <pc:chgData name="Tereza Mendes" userId="bb2291e0-f53c-426c-bc7e-e6da289e7b4f" providerId="ADAL" clId="{7D1F2E19-8F1B-479D-B1B7-9293AB71106B}" dt="2020-11-19T20:06:02.864" v="1249" actId="2696"/>
        <pc:sldMkLst>
          <pc:docMk/>
          <pc:sldMk cId="4256073568" sldId="2599"/>
        </pc:sldMkLst>
      </pc:sldChg>
      <pc:sldChg chg="del">
        <pc:chgData name="Tereza Mendes" userId="bb2291e0-f53c-426c-bc7e-e6da289e7b4f" providerId="ADAL" clId="{7D1F2E19-8F1B-479D-B1B7-9293AB71106B}" dt="2020-11-19T20:06:10.674" v="1251" actId="2696"/>
        <pc:sldMkLst>
          <pc:docMk/>
          <pc:sldMk cId="3577416475" sldId="2600"/>
        </pc:sldMkLst>
      </pc:sldChg>
      <pc:sldChg chg="del">
        <pc:chgData name="Tereza Mendes" userId="bb2291e0-f53c-426c-bc7e-e6da289e7b4f" providerId="ADAL" clId="{7D1F2E19-8F1B-479D-B1B7-9293AB71106B}" dt="2020-11-19T20:06:11.811" v="1252" actId="2696"/>
        <pc:sldMkLst>
          <pc:docMk/>
          <pc:sldMk cId="2546684850" sldId="2601"/>
        </pc:sldMkLst>
      </pc:sldChg>
      <pc:sldChg chg="modSp ord">
        <pc:chgData name="Tereza Mendes" userId="bb2291e0-f53c-426c-bc7e-e6da289e7b4f" providerId="ADAL" clId="{7D1F2E19-8F1B-479D-B1B7-9293AB71106B}" dt="2020-11-23T12:11:24.599" v="2729" actId="13926"/>
        <pc:sldMkLst>
          <pc:docMk/>
          <pc:sldMk cId="692536801" sldId="2602"/>
        </pc:sldMkLst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7" creationId="{426F78DC-6BBA-1E43-A84A-BB766171C104}"/>
          </ac:spMkLst>
        </pc:spChg>
        <pc:spChg chg="mod">
          <ac:chgData name="Tereza Mendes" userId="bb2291e0-f53c-426c-bc7e-e6da289e7b4f" providerId="ADAL" clId="{7D1F2E19-8F1B-479D-B1B7-9293AB71106B}" dt="2020-11-23T12:10:23.929" v="2680" actId="1036"/>
          <ac:spMkLst>
            <pc:docMk/>
            <pc:sldMk cId="692536801" sldId="2602"/>
            <ac:spMk id="15" creationId="{E27FD3CF-9A84-4BD5-A099-87875C06AACD}"/>
          </ac:spMkLst>
        </pc:spChg>
        <pc:spChg chg="mod">
          <ac:chgData name="Tereza Mendes" userId="bb2291e0-f53c-426c-bc7e-e6da289e7b4f" providerId="ADAL" clId="{7D1F2E19-8F1B-479D-B1B7-9293AB71106B}" dt="2020-11-23T12:11:01.658" v="2721" actId="1036"/>
          <ac:spMkLst>
            <pc:docMk/>
            <pc:sldMk cId="692536801" sldId="2602"/>
            <ac:spMk id="17" creationId="{D2D52581-8569-724F-957A-2FD88E98DA74}"/>
          </ac:spMkLst>
        </pc:spChg>
        <pc:spChg chg="mod">
          <ac:chgData name="Tereza Mendes" userId="bb2291e0-f53c-426c-bc7e-e6da289e7b4f" providerId="ADAL" clId="{7D1F2E19-8F1B-479D-B1B7-9293AB71106B}" dt="2020-11-23T12:10:27.399" v="2681" actId="14100"/>
          <ac:spMkLst>
            <pc:docMk/>
            <pc:sldMk cId="692536801" sldId="2602"/>
            <ac:spMk id="36" creationId="{CD901CF3-2B87-E242-A1B8-A128B2C43238}"/>
          </ac:spMkLst>
        </pc:spChg>
        <pc:spChg chg="mod">
          <ac:chgData name="Tereza Mendes" userId="bb2291e0-f53c-426c-bc7e-e6da289e7b4f" providerId="ADAL" clId="{7D1F2E19-8F1B-479D-B1B7-9293AB71106B}" dt="2020-11-23T12:10:02.832" v="2659" actId="14100"/>
          <ac:spMkLst>
            <pc:docMk/>
            <pc:sldMk cId="692536801" sldId="2602"/>
            <ac:spMk id="41" creationId="{4434FAE4-6AA7-B44F-B4CC-44A7A905C090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50" creationId="{ADB7823B-13E2-4682-A578-57D7507130F1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54" creationId="{FE30DDB6-CAC6-2345-923A-4BBCEF80675D}"/>
          </ac:spMkLst>
        </pc:spChg>
        <pc:spChg chg="mod">
          <ac:chgData name="Tereza Mendes" userId="bb2291e0-f53c-426c-bc7e-e6da289e7b4f" providerId="ADAL" clId="{7D1F2E19-8F1B-479D-B1B7-9293AB71106B}" dt="2020-11-23T12:11:24.599" v="2729" actId="13926"/>
          <ac:spMkLst>
            <pc:docMk/>
            <pc:sldMk cId="692536801" sldId="2602"/>
            <ac:spMk id="55" creationId="{BE293C0B-48B8-D14B-BAAF-6D93835F115B}"/>
          </ac:spMkLst>
        </pc:spChg>
        <pc:spChg chg="mod">
          <ac:chgData name="Tereza Mendes" userId="bb2291e0-f53c-426c-bc7e-e6da289e7b4f" providerId="ADAL" clId="{7D1F2E19-8F1B-479D-B1B7-9293AB71106B}" dt="2020-11-23T12:10:20.768" v="2677" actId="1036"/>
          <ac:spMkLst>
            <pc:docMk/>
            <pc:sldMk cId="692536801" sldId="2602"/>
            <ac:spMk id="56" creationId="{A1F70208-90C6-8243-A899-FA3EA257E55B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57" creationId="{C7EB9AA9-14EF-4864-9A30-F5DE9034E743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60" creationId="{FAD5BAF7-E0CE-9342-9D03-627DD590278D}"/>
          </ac:spMkLst>
        </pc:spChg>
        <pc:spChg chg="mod">
          <ac:chgData name="Tereza Mendes" userId="bb2291e0-f53c-426c-bc7e-e6da289e7b4f" providerId="ADAL" clId="{7D1F2E19-8F1B-479D-B1B7-9293AB71106B}" dt="2020-11-23T12:10:52.941" v="2704" actId="1035"/>
          <ac:spMkLst>
            <pc:docMk/>
            <pc:sldMk cId="692536801" sldId="2602"/>
            <ac:spMk id="66" creationId="{A7A91335-D000-6C47-BF32-2EB47C72C843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67" creationId="{3BBBCD97-FE6E-490D-BE65-BA3BE547ECA3}"/>
          </ac:spMkLst>
        </pc:spChg>
        <pc:spChg chg="mod">
          <ac:chgData name="Tereza Mendes" userId="bb2291e0-f53c-426c-bc7e-e6da289e7b4f" providerId="ADAL" clId="{7D1F2E19-8F1B-479D-B1B7-9293AB71106B}" dt="2020-11-23T12:11:05.086" v="2725" actId="1035"/>
          <ac:spMkLst>
            <pc:docMk/>
            <pc:sldMk cId="692536801" sldId="2602"/>
            <ac:spMk id="70" creationId="{680E7F3B-64E0-8644-B0C5-3ED0280D6AE8}"/>
          </ac:spMkLst>
        </pc:spChg>
        <pc:spChg chg="mod">
          <ac:chgData name="Tereza Mendes" userId="bb2291e0-f53c-426c-bc7e-e6da289e7b4f" providerId="ADAL" clId="{7D1F2E19-8F1B-479D-B1B7-9293AB71106B}" dt="2020-11-23T12:10:17.496" v="2671" actId="1038"/>
          <ac:spMkLst>
            <pc:docMk/>
            <pc:sldMk cId="692536801" sldId="2602"/>
            <ac:spMk id="71" creationId="{6CDB49E8-8ADD-A849-80B6-AA11B8EAB741}"/>
          </ac:spMkLst>
        </pc:spChg>
        <pc:spChg chg="mod">
          <ac:chgData name="Tereza Mendes" userId="bb2291e0-f53c-426c-bc7e-e6da289e7b4f" providerId="ADAL" clId="{7D1F2E19-8F1B-479D-B1B7-9293AB71106B}" dt="2020-11-23T12:11:13.745" v="2726" actId="1076"/>
          <ac:spMkLst>
            <pc:docMk/>
            <pc:sldMk cId="692536801" sldId="2602"/>
            <ac:spMk id="72" creationId="{C35B847A-BF3F-7246-9705-D7ED1607CE21}"/>
          </ac:spMkLst>
        </pc:spChg>
        <pc:spChg chg="mod">
          <ac:chgData name="Tereza Mendes" userId="bb2291e0-f53c-426c-bc7e-e6da289e7b4f" providerId="ADAL" clId="{7D1F2E19-8F1B-479D-B1B7-9293AB71106B}" dt="2020-11-23T12:10:12.336" v="2667" actId="1035"/>
          <ac:spMkLst>
            <pc:docMk/>
            <pc:sldMk cId="692536801" sldId="2602"/>
            <ac:spMk id="79" creationId="{5A10E1B4-21E6-2043-8D9D-FB48C6635CDF}"/>
          </ac:spMkLst>
        </pc:spChg>
        <pc:grpChg chg="mod">
          <ac:chgData name="Tereza Mendes" userId="bb2291e0-f53c-426c-bc7e-e6da289e7b4f" providerId="ADAL" clId="{7D1F2E19-8F1B-479D-B1B7-9293AB71106B}" dt="2020-11-23T12:11:05.086" v="2725" actId="1035"/>
          <ac:grpSpMkLst>
            <pc:docMk/>
            <pc:sldMk cId="692536801" sldId="2602"/>
            <ac:grpSpMk id="16" creationId="{70B378BA-BB43-FE41-8A9D-F73D20751AA1}"/>
          </ac:grpSpMkLst>
        </pc:grpChg>
        <pc:graphicFrameChg chg="mod">
          <ac:chgData name="Tereza Mendes" userId="bb2291e0-f53c-426c-bc7e-e6da289e7b4f" providerId="ADAL" clId="{7D1F2E19-8F1B-479D-B1B7-9293AB71106B}" dt="2020-11-23T12:09:41.095" v="2655"/>
          <ac:graphicFrameMkLst>
            <pc:docMk/>
            <pc:sldMk cId="692536801" sldId="2602"/>
            <ac:graphicFrameMk id="8" creationId="{025C0E6D-6750-8A49-8674-2C0C6CEA9E37}"/>
          </ac:graphicFrameMkLst>
        </pc:graphicFrameChg>
        <pc:cxnChg chg="mod">
          <ac:chgData name="Tereza Mendes" userId="bb2291e0-f53c-426c-bc7e-e6da289e7b4f" providerId="ADAL" clId="{7D1F2E19-8F1B-479D-B1B7-9293AB71106B}" dt="2020-11-23T12:11:05.086" v="2725" actId="1035"/>
          <ac:cxnSpMkLst>
            <pc:docMk/>
            <pc:sldMk cId="692536801" sldId="2602"/>
            <ac:cxnSpMk id="20" creationId="{7BFEFC3A-1B2E-ED44-970B-8240550F62D3}"/>
          </ac:cxnSpMkLst>
        </pc:cxnChg>
        <pc:cxnChg chg="mod">
          <ac:chgData name="Tereza Mendes" userId="bb2291e0-f53c-426c-bc7e-e6da289e7b4f" providerId="ADAL" clId="{7D1F2E19-8F1B-479D-B1B7-9293AB71106B}" dt="2020-11-23T12:10:12.336" v="2667" actId="1035"/>
          <ac:cxnSpMkLst>
            <pc:docMk/>
            <pc:sldMk cId="692536801" sldId="2602"/>
            <ac:cxnSpMk id="65" creationId="{303BFDC0-E5F6-41EB-BEFC-5659B098A1CF}"/>
          </ac:cxnSpMkLst>
        </pc:cxnChg>
        <pc:cxnChg chg="mod">
          <ac:chgData name="Tereza Mendes" userId="bb2291e0-f53c-426c-bc7e-e6da289e7b4f" providerId="ADAL" clId="{7D1F2E19-8F1B-479D-B1B7-9293AB71106B}" dt="2020-11-23T12:10:12.336" v="2667" actId="1035"/>
          <ac:cxnSpMkLst>
            <pc:docMk/>
            <pc:sldMk cId="692536801" sldId="2602"/>
            <ac:cxnSpMk id="68" creationId="{BFCC789D-E014-473E-86BB-0E5A1642893A}"/>
          </ac:cxnSpMkLst>
        </pc:cxnChg>
        <pc:cxnChg chg="mod">
          <ac:chgData name="Tereza Mendes" userId="bb2291e0-f53c-426c-bc7e-e6da289e7b4f" providerId="ADAL" clId="{7D1F2E19-8F1B-479D-B1B7-9293AB71106B}" dt="2020-11-23T12:10:12.336" v="2667" actId="1035"/>
          <ac:cxnSpMkLst>
            <pc:docMk/>
            <pc:sldMk cId="692536801" sldId="2602"/>
            <ac:cxnSpMk id="80" creationId="{EE641533-8125-E14D-9607-D92C8AFBF6A8}"/>
          </ac:cxnSpMkLst>
        </pc:cxnChg>
        <pc:cxnChg chg="mod">
          <ac:chgData name="Tereza Mendes" userId="bb2291e0-f53c-426c-bc7e-e6da289e7b4f" providerId="ADAL" clId="{7D1F2E19-8F1B-479D-B1B7-9293AB71106B}" dt="2020-11-23T12:10:12.336" v="2667" actId="1035"/>
          <ac:cxnSpMkLst>
            <pc:docMk/>
            <pc:sldMk cId="692536801" sldId="2602"/>
            <ac:cxnSpMk id="81" creationId="{1FD03792-9E54-4E88-9E06-91383B5E0CC1}"/>
          </ac:cxnSpMkLst>
        </pc:cxnChg>
        <pc:cxnChg chg="mod">
          <ac:chgData name="Tereza Mendes" userId="bb2291e0-f53c-426c-bc7e-e6da289e7b4f" providerId="ADAL" clId="{7D1F2E19-8F1B-479D-B1B7-9293AB71106B}" dt="2020-11-23T12:10:12.336" v="2667" actId="1035"/>
          <ac:cxnSpMkLst>
            <pc:docMk/>
            <pc:sldMk cId="692536801" sldId="2602"/>
            <ac:cxnSpMk id="83" creationId="{EE0293A6-23ED-4F5B-A5BE-B191A8BDC00D}"/>
          </ac:cxnSpMkLst>
        </pc:cxnChg>
      </pc:sldChg>
      <pc:sldChg chg="ord">
        <pc:chgData name="Tereza Mendes" userId="bb2291e0-f53c-426c-bc7e-e6da289e7b4f" providerId="ADAL" clId="{7D1F2E19-8F1B-479D-B1B7-9293AB71106B}" dt="2020-11-19T22:14:57.133" v="2152"/>
        <pc:sldMkLst>
          <pc:docMk/>
          <pc:sldMk cId="1969208108" sldId="2603"/>
        </pc:sldMkLst>
      </pc:sldChg>
      <pc:sldChg chg="del">
        <pc:chgData name="Tereza Mendes" userId="bb2291e0-f53c-426c-bc7e-e6da289e7b4f" providerId="ADAL" clId="{7D1F2E19-8F1B-479D-B1B7-9293AB71106B}" dt="2020-11-19T20:06:15.228" v="1253" actId="2696"/>
        <pc:sldMkLst>
          <pc:docMk/>
          <pc:sldMk cId="3776722265" sldId="2605"/>
        </pc:sldMkLst>
      </pc:sldChg>
      <pc:sldChg chg="addSp delSp modSp modAnim">
        <pc:chgData name="Tereza Mendes" userId="bb2291e0-f53c-426c-bc7e-e6da289e7b4f" providerId="ADAL" clId="{7D1F2E19-8F1B-479D-B1B7-9293AB71106B}" dt="2020-11-24T13:16:21.511" v="4346" actId="478"/>
        <pc:sldMkLst>
          <pc:docMk/>
          <pc:sldMk cId="2995099403" sldId="2606"/>
        </pc:sldMkLst>
        <pc:spChg chg="add mod">
          <ac:chgData name="Tereza Mendes" userId="bb2291e0-f53c-426c-bc7e-e6da289e7b4f" providerId="ADAL" clId="{7D1F2E19-8F1B-479D-B1B7-9293AB71106B}" dt="2020-11-19T22:00:39.222" v="1541" actId="20577"/>
          <ac:spMkLst>
            <pc:docMk/>
            <pc:sldMk cId="2995099403" sldId="2606"/>
            <ac:spMk id="58" creationId="{E5163FD6-0676-414D-AF17-1F4E362E8487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59" creationId="{58A3FBE7-2667-4ED5-88E0-68FFFBBF3B2C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60" creationId="{22252768-0370-41FF-B24E-3D7EFB44EA08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61" creationId="{78DF553E-EF88-4061-8EC8-456D1D02F3C3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62" creationId="{838DAB41-3213-4AA4-8BE5-E5DA9B76F879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63" creationId="{77D5E2D9-AA76-4FBD-BE14-69F6E5D6D2C2}"/>
          </ac:spMkLst>
        </pc:spChg>
        <pc:spChg chg="add mod">
          <ac:chgData name="Tereza Mendes" userId="bb2291e0-f53c-426c-bc7e-e6da289e7b4f" providerId="ADAL" clId="{7D1F2E19-8F1B-479D-B1B7-9293AB71106B}" dt="2020-11-19T21:57:11.358" v="1415" actId="1037"/>
          <ac:spMkLst>
            <pc:docMk/>
            <pc:sldMk cId="2995099403" sldId="2606"/>
            <ac:spMk id="64" creationId="{EEF84F0C-FB2F-431C-9196-53C12BCCEE17}"/>
          </ac:spMkLst>
        </pc:spChg>
        <pc:spChg chg="add del mod">
          <ac:chgData name="Tereza Mendes" userId="bb2291e0-f53c-426c-bc7e-e6da289e7b4f" providerId="ADAL" clId="{7D1F2E19-8F1B-479D-B1B7-9293AB71106B}" dt="2020-11-19T21:55:06.536" v="1355" actId="478"/>
          <ac:spMkLst>
            <pc:docMk/>
            <pc:sldMk cId="2995099403" sldId="2606"/>
            <ac:spMk id="66" creationId="{2B5E1F46-D9D1-4FED-8F42-4C9835CB850C}"/>
          </ac:spMkLst>
        </pc:spChg>
        <pc:spChg chg="add mod">
          <ac:chgData name="Tereza Mendes" userId="bb2291e0-f53c-426c-bc7e-e6da289e7b4f" providerId="ADAL" clId="{7D1F2E19-8F1B-479D-B1B7-9293AB71106B}" dt="2020-11-23T12:12:21.270" v="2758" actId="20577"/>
          <ac:spMkLst>
            <pc:docMk/>
            <pc:sldMk cId="2995099403" sldId="2606"/>
            <ac:spMk id="67" creationId="{CB8C65D8-B3E5-49F1-9FAC-C2F4F3B1160B}"/>
          </ac:spMkLst>
        </pc:spChg>
        <pc:spChg chg="add mod">
          <ac:chgData name="Tereza Mendes" userId="bb2291e0-f53c-426c-bc7e-e6da289e7b4f" providerId="ADAL" clId="{7D1F2E19-8F1B-479D-B1B7-9293AB71106B}" dt="2020-11-19T22:02:03.962" v="1691" actId="14100"/>
          <ac:spMkLst>
            <pc:docMk/>
            <pc:sldMk cId="2995099403" sldId="2606"/>
            <ac:spMk id="68" creationId="{573E3FA2-870A-44EB-B3D0-E556FC138298}"/>
          </ac:spMkLst>
        </pc:spChg>
        <pc:spChg chg="add mod">
          <ac:chgData name="Tereza Mendes" userId="bb2291e0-f53c-426c-bc7e-e6da289e7b4f" providerId="ADAL" clId="{7D1F2E19-8F1B-479D-B1B7-9293AB71106B}" dt="2020-11-19T22:04:18.505" v="1796" actId="1035"/>
          <ac:spMkLst>
            <pc:docMk/>
            <pc:sldMk cId="2995099403" sldId="2606"/>
            <ac:spMk id="69" creationId="{6B072AEE-EE76-4884-90A4-2180F5C47F6A}"/>
          </ac:spMkLst>
        </pc:spChg>
        <pc:spChg chg="add mod">
          <ac:chgData name="Tereza Mendes" userId="bb2291e0-f53c-426c-bc7e-e6da289e7b4f" providerId="ADAL" clId="{7D1F2E19-8F1B-479D-B1B7-9293AB71106B}" dt="2020-11-19T22:04:22.870" v="1800" actId="1035"/>
          <ac:spMkLst>
            <pc:docMk/>
            <pc:sldMk cId="2995099403" sldId="2606"/>
            <ac:spMk id="70" creationId="{4B09BAF2-A078-48B5-A5A6-2325691D2BE3}"/>
          </ac:spMkLst>
        </pc:spChg>
        <pc:spChg chg="add mod">
          <ac:chgData name="Tereza Mendes" userId="bb2291e0-f53c-426c-bc7e-e6da289e7b4f" providerId="ADAL" clId="{7D1F2E19-8F1B-479D-B1B7-9293AB71106B}" dt="2020-11-19T22:04:22.870" v="1800" actId="1035"/>
          <ac:spMkLst>
            <pc:docMk/>
            <pc:sldMk cId="2995099403" sldId="2606"/>
            <ac:spMk id="71" creationId="{1559CCF0-7DE4-441C-87BE-5DA487440E5C}"/>
          </ac:spMkLst>
        </pc:spChg>
        <pc:spChg chg="add mod">
          <ac:chgData name="Tereza Mendes" userId="bb2291e0-f53c-426c-bc7e-e6da289e7b4f" providerId="ADAL" clId="{7D1F2E19-8F1B-479D-B1B7-9293AB71106B}" dt="2020-11-19T22:03:00.378" v="1773" actId="1035"/>
          <ac:spMkLst>
            <pc:docMk/>
            <pc:sldMk cId="2995099403" sldId="2606"/>
            <ac:spMk id="72" creationId="{01FA95B3-1E3B-4106-BCCC-4CF4C5B28B85}"/>
          </ac:spMkLst>
        </pc:spChg>
        <pc:spChg chg="add mod">
          <ac:chgData name="Tereza Mendes" userId="bb2291e0-f53c-426c-bc7e-e6da289e7b4f" providerId="ADAL" clId="{7D1F2E19-8F1B-479D-B1B7-9293AB71106B}" dt="2020-11-19T22:03:00.378" v="1773" actId="1035"/>
          <ac:spMkLst>
            <pc:docMk/>
            <pc:sldMk cId="2995099403" sldId="2606"/>
            <ac:spMk id="73" creationId="{E95392A8-4F4B-4A93-8396-006343A1C4FF}"/>
          </ac:spMkLst>
        </pc:spChg>
        <pc:spChg chg="del mod">
          <ac:chgData name="Tereza Mendes" userId="bb2291e0-f53c-426c-bc7e-e6da289e7b4f" providerId="ADAL" clId="{7D1F2E19-8F1B-479D-B1B7-9293AB71106B}" dt="2020-11-24T13:16:21.511" v="4346" actId="478"/>
          <ac:spMkLst>
            <pc:docMk/>
            <pc:sldMk cId="2995099403" sldId="2606"/>
            <ac:spMk id="95" creationId="{32FD8C3E-AB8A-4371-B5AA-78A7726091B0}"/>
          </ac:spMkLst>
        </pc:spChg>
        <pc:spChg chg="mod">
          <ac:chgData name="Tereza Mendes" userId="bb2291e0-f53c-426c-bc7e-e6da289e7b4f" providerId="ADAL" clId="{7D1F2E19-8F1B-479D-B1B7-9293AB71106B}" dt="2020-11-19T22:02:17.174" v="1735" actId="1076"/>
          <ac:spMkLst>
            <pc:docMk/>
            <pc:sldMk cId="2995099403" sldId="2606"/>
            <ac:spMk id="104" creationId="{18541D17-12C6-4883-9594-A0F0C53159AD}"/>
          </ac:spMkLst>
        </pc:spChg>
        <pc:spChg chg="mod">
          <ac:chgData name="Tereza Mendes" userId="bb2291e0-f53c-426c-bc7e-e6da289e7b4f" providerId="ADAL" clId="{7D1F2E19-8F1B-479D-B1B7-9293AB71106B}" dt="2020-11-19T22:04:13.445" v="1795" actId="1036"/>
          <ac:spMkLst>
            <pc:docMk/>
            <pc:sldMk cId="2995099403" sldId="2606"/>
            <ac:spMk id="119" creationId="{431900DA-9BBF-4CBA-A3C1-0DAF3B26AC7F}"/>
          </ac:spMkLst>
        </pc:spChg>
        <pc:spChg chg="mod">
          <ac:chgData name="Tereza Mendes" userId="bb2291e0-f53c-426c-bc7e-e6da289e7b4f" providerId="ADAL" clId="{7D1F2E19-8F1B-479D-B1B7-9293AB71106B}" dt="2020-11-19T22:04:13.445" v="1795" actId="1036"/>
          <ac:spMkLst>
            <pc:docMk/>
            <pc:sldMk cId="2995099403" sldId="2606"/>
            <ac:spMk id="120" creationId="{E09BD228-D4D0-4209-AF00-1CFB102581EC}"/>
          </ac:spMkLst>
        </pc:spChg>
        <pc:spChg chg="del mod">
          <ac:chgData name="Tereza Mendes" userId="bb2291e0-f53c-426c-bc7e-e6da289e7b4f" providerId="ADAL" clId="{7D1F2E19-8F1B-479D-B1B7-9293AB71106B}" dt="2020-11-23T12:11:35.779" v="2730" actId="478"/>
          <ac:spMkLst>
            <pc:docMk/>
            <pc:sldMk cId="2995099403" sldId="2606"/>
            <ac:spMk id="151" creationId="{20700AB3-A84E-4BAC-92A0-4EDDF9F53E01}"/>
          </ac:spMkLst>
        </pc:spChg>
        <pc:spChg chg="del mod">
          <ac:chgData name="Tereza Mendes" userId="bb2291e0-f53c-426c-bc7e-e6da289e7b4f" providerId="ADAL" clId="{7D1F2E19-8F1B-479D-B1B7-9293AB71106B}" dt="2020-11-23T12:11:35.779" v="2730" actId="478"/>
          <ac:spMkLst>
            <pc:docMk/>
            <pc:sldMk cId="2995099403" sldId="2606"/>
            <ac:spMk id="152" creationId="{372D83E7-26F7-40A7-AF99-7BB589829CC5}"/>
          </ac:spMkLst>
        </pc:spChg>
        <pc:spChg chg="del mod">
          <ac:chgData name="Tereza Mendes" userId="bb2291e0-f53c-426c-bc7e-e6da289e7b4f" providerId="ADAL" clId="{7D1F2E19-8F1B-479D-B1B7-9293AB71106B}" dt="2020-11-23T12:11:37.740" v="2731" actId="478"/>
          <ac:spMkLst>
            <pc:docMk/>
            <pc:sldMk cId="2995099403" sldId="2606"/>
            <ac:spMk id="153" creationId="{9D07DDD8-9480-4251-865C-5DFBEA5F40BE}"/>
          </ac:spMkLst>
        </pc:spChg>
        <pc:spChg chg="mod">
          <ac:chgData name="Tereza Mendes" userId="bb2291e0-f53c-426c-bc7e-e6da289e7b4f" providerId="ADAL" clId="{7D1F2E19-8F1B-479D-B1B7-9293AB71106B}" dt="2020-11-18T21:14:22.897" v="22" actId="14100"/>
          <ac:spMkLst>
            <pc:docMk/>
            <pc:sldMk cId="2995099403" sldId="2606"/>
            <ac:spMk id="156" creationId="{8CB7454F-3CB7-4497-9BD8-CF794B623193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58" creationId="{D0F6D39D-6F89-42FE-9259-DCE0CED9E447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59" creationId="{FF6AF3E9-A196-4687-81F5-B1DA65F914EA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61" creationId="{43C0D8CE-654E-4EB5-9A83-DBFCC5C9F094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62" creationId="{B0950F0B-6D5E-4FF2-AB17-29582ACB83BA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63" creationId="{3F4DC1E9-E0B1-417A-BD46-E41C3468015D}"/>
          </ac:spMkLst>
        </pc:spChg>
        <pc:spChg chg="mod">
          <ac:chgData name="Tereza Mendes" userId="bb2291e0-f53c-426c-bc7e-e6da289e7b4f" providerId="ADAL" clId="{7D1F2E19-8F1B-479D-B1B7-9293AB71106B}" dt="2020-11-19T21:57:15.752" v="1417" actId="1035"/>
          <ac:spMkLst>
            <pc:docMk/>
            <pc:sldMk cId="2995099403" sldId="2606"/>
            <ac:spMk id="164" creationId="{A5D6A998-DA9D-4E43-BB69-DF85698A417B}"/>
          </ac:spMkLst>
        </pc:spChg>
        <pc:picChg chg="mod">
          <ac:chgData name="Tereza Mendes" userId="bb2291e0-f53c-426c-bc7e-e6da289e7b4f" providerId="ADAL" clId="{7D1F2E19-8F1B-479D-B1B7-9293AB71106B}" dt="2020-11-19T21:55:37.571" v="1373" actId="1035"/>
          <ac:picMkLst>
            <pc:docMk/>
            <pc:sldMk cId="2995099403" sldId="2606"/>
            <ac:picMk id="5" creationId="{4BF92323-5EE8-4A1B-8C14-350B9E51478D}"/>
          </ac:picMkLst>
        </pc:picChg>
        <pc:picChg chg="add mod">
          <ac:chgData name="Tereza Mendes" userId="bb2291e0-f53c-426c-bc7e-e6da289e7b4f" providerId="ADAL" clId="{7D1F2E19-8F1B-479D-B1B7-9293AB71106B}" dt="2020-11-19T21:58:50.719" v="1455" actId="1036"/>
          <ac:picMkLst>
            <pc:docMk/>
            <pc:sldMk cId="2995099403" sldId="2606"/>
            <ac:picMk id="65" creationId="{7DBBBDA7-6B69-42AD-8D24-1F1E295A8DAE}"/>
          </ac:picMkLst>
        </pc:picChg>
      </pc:sldChg>
      <pc:sldChg chg="delSp modSp ord modTransition">
        <pc:chgData name="Tereza Mendes" userId="bb2291e0-f53c-426c-bc7e-e6da289e7b4f" providerId="ADAL" clId="{7D1F2E19-8F1B-479D-B1B7-9293AB71106B}" dt="2020-11-23T13:00:38.206" v="3957"/>
        <pc:sldMkLst>
          <pc:docMk/>
          <pc:sldMk cId="3600345370" sldId="2607"/>
        </pc:sldMkLst>
        <pc:spChg chg="del mod">
          <ac:chgData name="Tereza Mendes" userId="bb2291e0-f53c-426c-bc7e-e6da289e7b4f" providerId="ADAL" clId="{7D1F2E19-8F1B-479D-B1B7-9293AB71106B}" dt="2020-11-23T13:00:36.332" v="3956" actId="478"/>
          <ac:spMkLst>
            <pc:docMk/>
            <pc:sldMk cId="3600345370" sldId="2607"/>
            <ac:spMk id="29" creationId="{FC9234A0-65BF-4997-845D-BCF90708FBE1}"/>
          </ac:spMkLst>
        </pc:spChg>
      </pc:sldChg>
      <pc:sldChg chg="delSp modSp add">
        <pc:chgData name="Tereza Mendes" userId="bb2291e0-f53c-426c-bc7e-e6da289e7b4f" providerId="ADAL" clId="{7D1F2E19-8F1B-479D-B1B7-9293AB71106B}" dt="2020-11-19T22:07:03.709" v="1835" actId="478"/>
        <pc:sldMkLst>
          <pc:docMk/>
          <pc:sldMk cId="2640036050" sldId="2608"/>
        </pc:sldMkLst>
        <pc:spChg chg="del">
          <ac:chgData name="Tereza Mendes" userId="bb2291e0-f53c-426c-bc7e-e6da289e7b4f" providerId="ADAL" clId="{7D1F2E19-8F1B-479D-B1B7-9293AB71106B}" dt="2020-11-19T22:07:03.709" v="1835" actId="478"/>
          <ac:spMkLst>
            <pc:docMk/>
            <pc:sldMk cId="2640036050" sldId="2608"/>
            <ac:spMk id="8" creationId="{A9B5EE92-6EDD-F743-95B9-9C5A738E4F41}"/>
          </ac:spMkLst>
        </pc:spChg>
        <pc:spChg chg="mod">
          <ac:chgData name="Tereza Mendes" userId="bb2291e0-f53c-426c-bc7e-e6da289e7b4f" providerId="ADAL" clId="{7D1F2E19-8F1B-479D-B1B7-9293AB71106B}" dt="2020-11-19T22:07:00.455" v="1834" actId="20577"/>
          <ac:spMkLst>
            <pc:docMk/>
            <pc:sldMk cId="2640036050" sldId="2608"/>
            <ac:spMk id="120" creationId="{00000000-0000-0000-0000-000000000000}"/>
          </ac:spMkLst>
        </pc:spChg>
      </pc:sldChg>
      <pc:sldChg chg="addSp delSp modSp add del ord">
        <pc:chgData name="Tereza Mendes" userId="bb2291e0-f53c-426c-bc7e-e6da289e7b4f" providerId="ADAL" clId="{7D1F2E19-8F1B-479D-B1B7-9293AB71106B}" dt="2020-11-23T13:00:59.614" v="3958" actId="2696"/>
        <pc:sldMkLst>
          <pc:docMk/>
          <pc:sldMk cId="2741507320" sldId="2609"/>
        </pc:sldMkLst>
        <pc:spChg chg="del">
          <ac:chgData name="Tereza Mendes" userId="bb2291e0-f53c-426c-bc7e-e6da289e7b4f" providerId="ADAL" clId="{7D1F2E19-8F1B-479D-B1B7-9293AB71106B}" dt="2020-11-19T22:11:34.692" v="1970" actId="478"/>
          <ac:spMkLst>
            <pc:docMk/>
            <pc:sldMk cId="2741507320" sldId="2609"/>
            <ac:spMk id="3" creationId="{29CE5C12-2E8C-6048-A40A-5F01A81836DA}"/>
          </ac:spMkLst>
        </pc:spChg>
        <pc:spChg chg="add del mod">
          <ac:chgData name="Tereza Mendes" userId="bb2291e0-f53c-426c-bc7e-e6da289e7b4f" providerId="ADAL" clId="{7D1F2E19-8F1B-479D-B1B7-9293AB71106B}" dt="2020-11-23T12:41:00.312" v="3747" actId="478"/>
          <ac:spMkLst>
            <pc:docMk/>
            <pc:sldMk cId="2741507320" sldId="2609"/>
            <ac:spMk id="3" creationId="{DEA1B715-C085-4F17-B95A-FD008F9761B2}"/>
          </ac:spMkLst>
        </pc:spChg>
        <pc:spChg chg="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5" creationId="{22CA04E0-B405-074C-90EE-198370E84158}"/>
          </ac:spMkLst>
        </pc:spChg>
        <pc:spChg chg="del">
          <ac:chgData name="Tereza Mendes" userId="bb2291e0-f53c-426c-bc7e-e6da289e7b4f" providerId="ADAL" clId="{7D1F2E19-8F1B-479D-B1B7-9293AB71106B}" dt="2020-11-19T22:11:34.692" v="1970" actId="478"/>
          <ac:spMkLst>
            <pc:docMk/>
            <pc:sldMk cId="2741507320" sldId="2609"/>
            <ac:spMk id="6" creationId="{B769ABE4-21DB-A541-B007-3D191CD241B4}"/>
          </ac:spMkLst>
        </pc:spChg>
        <pc:spChg chg="del mod">
          <ac:chgData name="Tereza Mendes" userId="bb2291e0-f53c-426c-bc7e-e6da289e7b4f" providerId="ADAL" clId="{7D1F2E19-8F1B-479D-B1B7-9293AB71106B}" dt="2020-11-19T22:12:06.395" v="2116" actId="478"/>
          <ac:spMkLst>
            <pc:docMk/>
            <pc:sldMk cId="2741507320" sldId="2609"/>
            <ac:spMk id="7" creationId="{0A8B2321-362B-FE4E-B03D-5BE87FB8ACEC}"/>
          </ac:spMkLst>
        </pc:spChg>
        <pc:spChg chg="del">
          <ac:chgData name="Tereza Mendes" userId="bb2291e0-f53c-426c-bc7e-e6da289e7b4f" providerId="ADAL" clId="{7D1F2E19-8F1B-479D-B1B7-9293AB71106B}" dt="2020-11-19T22:11:34.692" v="1970" actId="478"/>
          <ac:spMkLst>
            <pc:docMk/>
            <pc:sldMk cId="2741507320" sldId="2609"/>
            <ac:spMk id="9" creationId="{ABF6CBF6-C634-6140-9CF8-3761619CE2F3}"/>
          </ac:spMkLst>
        </pc:spChg>
        <pc:spChg chg="mod">
          <ac:chgData name="Tereza Mendes" userId="bb2291e0-f53c-426c-bc7e-e6da289e7b4f" providerId="ADAL" clId="{7D1F2E19-8F1B-479D-B1B7-9293AB71106B}" dt="2020-11-23T12:43:16.054" v="3788" actId="1036"/>
          <ac:spMkLst>
            <pc:docMk/>
            <pc:sldMk cId="2741507320" sldId="2609"/>
            <ac:spMk id="11" creationId="{B2E74B92-8A8F-6B42-A98D-6620649C22DA}"/>
          </ac:spMkLst>
        </pc:spChg>
        <pc:spChg chg="del mod">
          <ac:chgData name="Tereza Mendes" userId="bb2291e0-f53c-426c-bc7e-e6da289e7b4f" providerId="ADAL" clId="{7D1F2E19-8F1B-479D-B1B7-9293AB71106B}" dt="2020-11-23T12:37:03.055" v="3598" actId="478"/>
          <ac:spMkLst>
            <pc:docMk/>
            <pc:sldMk cId="2741507320" sldId="2609"/>
            <ac:spMk id="12" creationId="{B947F44C-EDBB-8C40-AEE8-1E9DAE97228C}"/>
          </ac:spMkLst>
        </pc:spChg>
        <pc:spChg chg="del mod">
          <ac:chgData name="Tereza Mendes" userId="bb2291e0-f53c-426c-bc7e-e6da289e7b4f" providerId="ADAL" clId="{7D1F2E19-8F1B-479D-B1B7-9293AB71106B}" dt="2020-11-23T12:35:20.352" v="3550" actId="478"/>
          <ac:spMkLst>
            <pc:docMk/>
            <pc:sldMk cId="2741507320" sldId="2609"/>
            <ac:spMk id="13" creationId="{43F74B6E-87C1-F647-92A9-BA5125CD92FD}"/>
          </ac:spMkLst>
        </pc:spChg>
        <pc:spChg chg="del mod">
          <ac:chgData name="Tereza Mendes" userId="bb2291e0-f53c-426c-bc7e-e6da289e7b4f" providerId="ADAL" clId="{7D1F2E19-8F1B-479D-B1B7-9293AB71106B}" dt="2020-11-19T22:45:15.507" v="2515" actId="478"/>
          <ac:spMkLst>
            <pc:docMk/>
            <pc:sldMk cId="2741507320" sldId="2609"/>
            <ac:spMk id="14" creationId="{BA4F04D9-37F0-0C4B-B7F6-6EF3397468E2}"/>
          </ac:spMkLst>
        </pc:spChg>
        <pc:spChg chg="del mod">
          <ac:chgData name="Tereza Mendes" userId="bb2291e0-f53c-426c-bc7e-e6da289e7b4f" providerId="ADAL" clId="{7D1F2E19-8F1B-479D-B1B7-9293AB71106B}" dt="2020-11-23T12:27:33.634" v="3023" actId="478"/>
          <ac:spMkLst>
            <pc:docMk/>
            <pc:sldMk cId="2741507320" sldId="2609"/>
            <ac:spMk id="15" creationId="{AD98F0E0-7EDF-C14B-BDF1-D9E141EC4631}"/>
          </ac:spMkLst>
        </pc:spChg>
        <pc:spChg chg="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16" creationId="{E652A0F1-D81E-4640-BA80-B71FD51FE81D}"/>
          </ac:spMkLst>
        </pc:spChg>
        <pc:spChg chg="del mod">
          <ac:chgData name="Tereza Mendes" userId="bb2291e0-f53c-426c-bc7e-e6da289e7b4f" providerId="ADAL" clId="{7D1F2E19-8F1B-479D-B1B7-9293AB71106B}" dt="2020-11-19T22:45:15.507" v="2515" actId="478"/>
          <ac:spMkLst>
            <pc:docMk/>
            <pc:sldMk cId="2741507320" sldId="2609"/>
            <ac:spMk id="17" creationId="{3518F7F2-E7DA-744F-BFA9-AC04A76FC0B5}"/>
          </ac:spMkLst>
        </pc:spChg>
        <pc:spChg chg="mod">
          <ac:chgData name="Tereza Mendes" userId="bb2291e0-f53c-426c-bc7e-e6da289e7b4f" providerId="ADAL" clId="{7D1F2E19-8F1B-479D-B1B7-9293AB71106B}" dt="2020-11-23T12:43:16.054" v="3788" actId="1036"/>
          <ac:spMkLst>
            <pc:docMk/>
            <pc:sldMk cId="2741507320" sldId="2609"/>
            <ac:spMk id="18" creationId="{4C7043CB-D584-A44E-AB1D-2317A60E206A}"/>
          </ac:spMkLst>
        </pc:spChg>
        <pc:spChg chg="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21" creationId="{5E1883CD-B884-C042-B868-4EB254BFD890}"/>
          </ac:spMkLst>
        </pc:spChg>
        <pc:spChg chg="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24" creationId="{08BD17D6-4BB9-2341-A148-9D4C1520D4D2}"/>
          </ac:spMkLst>
        </pc:spChg>
        <pc:spChg chg="del mod">
          <ac:chgData name="Tereza Mendes" userId="bb2291e0-f53c-426c-bc7e-e6da289e7b4f" providerId="ADAL" clId="{7D1F2E19-8F1B-479D-B1B7-9293AB71106B}" dt="2020-11-23T12:35:35.075" v="3555" actId="478"/>
          <ac:spMkLst>
            <pc:docMk/>
            <pc:sldMk cId="2741507320" sldId="2609"/>
            <ac:spMk id="26" creationId="{F4A1DC45-11E2-2346-A086-F10D5E1B88FC}"/>
          </ac:spMkLst>
        </pc:spChg>
        <pc:spChg chg="del mod">
          <ac:chgData name="Tereza Mendes" userId="bb2291e0-f53c-426c-bc7e-e6da289e7b4f" providerId="ADAL" clId="{7D1F2E19-8F1B-479D-B1B7-9293AB71106B}" dt="2020-11-23T12:28:38.232" v="3036" actId="478"/>
          <ac:spMkLst>
            <pc:docMk/>
            <pc:sldMk cId="2741507320" sldId="2609"/>
            <ac:spMk id="27" creationId="{99F4768F-8A62-A443-89B7-CD85B87D620E}"/>
          </ac:spMkLst>
        </pc:spChg>
        <pc:spChg chg="del mod">
          <ac:chgData name="Tereza Mendes" userId="bb2291e0-f53c-426c-bc7e-e6da289e7b4f" providerId="ADAL" clId="{7D1F2E19-8F1B-479D-B1B7-9293AB71106B}" dt="2020-11-23T12:54:27.342" v="3897" actId="478"/>
          <ac:spMkLst>
            <pc:docMk/>
            <pc:sldMk cId="2741507320" sldId="2609"/>
            <ac:spMk id="29" creationId="{FC9234A0-65BF-4997-845D-BCF90708FBE1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30" creationId="{DC745E3F-8A00-45D0-B26F-D6F9AA8E7865}"/>
          </ac:spMkLst>
        </pc:spChg>
        <pc:spChg chg="del mod">
          <ac:chgData name="Tereza Mendes" userId="bb2291e0-f53c-426c-bc7e-e6da289e7b4f" providerId="ADAL" clId="{7D1F2E19-8F1B-479D-B1B7-9293AB71106B}" dt="2020-11-19T22:27:08.361" v="2233" actId="478"/>
          <ac:spMkLst>
            <pc:docMk/>
            <pc:sldMk cId="2741507320" sldId="2609"/>
            <ac:spMk id="30" creationId="{E6BBACF1-7590-4105-9074-43A5313DA8BC}"/>
          </ac:spMkLst>
        </pc:spChg>
        <pc:spChg chg="mod">
          <ac:chgData name="Tereza Mendes" userId="bb2291e0-f53c-426c-bc7e-e6da289e7b4f" providerId="ADAL" clId="{7D1F2E19-8F1B-479D-B1B7-9293AB71106B}" dt="2020-11-23T12:36:03.510" v="3582" actId="1035"/>
          <ac:spMkLst>
            <pc:docMk/>
            <pc:sldMk cId="2741507320" sldId="2609"/>
            <ac:spMk id="31" creationId="{069F608C-BB37-2F4D-BAAA-50FF8F641655}"/>
          </ac:spMkLst>
        </pc:spChg>
        <pc:spChg chg="del mod">
          <ac:chgData name="Tereza Mendes" userId="bb2291e0-f53c-426c-bc7e-e6da289e7b4f" providerId="ADAL" clId="{7D1F2E19-8F1B-479D-B1B7-9293AB71106B}" dt="2020-11-19T22:28:12.657" v="2245" actId="478"/>
          <ac:spMkLst>
            <pc:docMk/>
            <pc:sldMk cId="2741507320" sldId="2609"/>
            <ac:spMk id="32" creationId="{D6BDBA96-E985-40C5-B969-9A1DD7B0CC23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32" creationId="{D8204B35-F475-4A29-AB4D-B0F0F15593A1}"/>
          </ac:spMkLst>
        </pc:spChg>
        <pc:spChg chg="mod">
          <ac:chgData name="Tereza Mendes" userId="bb2291e0-f53c-426c-bc7e-e6da289e7b4f" providerId="ADAL" clId="{7D1F2E19-8F1B-479D-B1B7-9293AB71106B}" dt="2020-11-23T12:51:33.776" v="3867" actId="14100"/>
          <ac:spMkLst>
            <pc:docMk/>
            <pc:sldMk cId="2741507320" sldId="2609"/>
            <ac:spMk id="33" creationId="{E5FBFD5B-7555-4604-AC2F-535DFF1CACC2}"/>
          </ac:spMkLst>
        </pc:spChg>
        <pc:spChg chg="add mod">
          <ac:chgData name="Tereza Mendes" userId="bb2291e0-f53c-426c-bc7e-e6da289e7b4f" providerId="ADAL" clId="{7D1F2E19-8F1B-479D-B1B7-9293AB71106B}" dt="2020-11-23T12:53:10.668" v="3887" actId="207"/>
          <ac:spMkLst>
            <pc:docMk/>
            <pc:sldMk cId="2741507320" sldId="2609"/>
            <ac:spMk id="34" creationId="{36FDAB44-6C90-4339-B5A5-2E78973A47B7}"/>
          </ac:spMkLst>
        </pc:spChg>
        <pc:spChg chg="add mod">
          <ac:chgData name="Tereza Mendes" userId="bb2291e0-f53c-426c-bc7e-e6da289e7b4f" providerId="ADAL" clId="{7D1F2E19-8F1B-479D-B1B7-9293AB71106B}" dt="2020-11-23T12:52:37.388" v="3878" actId="207"/>
          <ac:spMkLst>
            <pc:docMk/>
            <pc:sldMk cId="2741507320" sldId="2609"/>
            <ac:spMk id="35" creationId="{F97C6A4E-2745-46E6-8990-899AA2DF4818}"/>
          </ac:spMkLst>
        </pc:spChg>
        <pc:spChg chg="add del mod">
          <ac:chgData name="Tereza Mendes" userId="bb2291e0-f53c-426c-bc7e-e6da289e7b4f" providerId="ADAL" clId="{7D1F2E19-8F1B-479D-B1B7-9293AB71106B}" dt="2020-11-23T12:30:39.018" v="3139" actId="478"/>
          <ac:spMkLst>
            <pc:docMk/>
            <pc:sldMk cId="2741507320" sldId="2609"/>
            <ac:spMk id="36" creationId="{D0F56C06-43C9-4055-A2A3-D6D09A719AD4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37" creationId="{847A685E-FDCF-41FD-9231-83BF7D7E2881}"/>
          </ac:spMkLst>
        </pc:spChg>
        <pc:spChg chg="add del mod">
          <ac:chgData name="Tereza Mendes" userId="bb2291e0-f53c-426c-bc7e-e6da289e7b4f" providerId="ADAL" clId="{7D1F2E19-8F1B-479D-B1B7-9293AB71106B}" dt="2020-11-23T12:35:20.352" v="3550" actId="478"/>
          <ac:spMkLst>
            <pc:docMk/>
            <pc:sldMk cId="2741507320" sldId="2609"/>
            <ac:spMk id="38" creationId="{D7565FFC-362B-404C-B844-C4DDD4832A25}"/>
          </ac:spMkLst>
        </pc:spChg>
        <pc:spChg chg="add del mod">
          <ac:chgData name="Tereza Mendes" userId="bb2291e0-f53c-426c-bc7e-e6da289e7b4f" providerId="ADAL" clId="{7D1F2E19-8F1B-479D-B1B7-9293AB71106B}" dt="2020-11-23T12:29:29.175" v="3050" actId="478"/>
          <ac:spMkLst>
            <pc:docMk/>
            <pc:sldMk cId="2741507320" sldId="2609"/>
            <ac:spMk id="39" creationId="{B7A40329-9AA3-4BFA-AD86-8FB32C9FAC8B}"/>
          </ac:spMkLst>
        </pc:spChg>
        <pc:spChg chg="add del mod">
          <ac:chgData name="Tereza Mendes" userId="bb2291e0-f53c-426c-bc7e-e6da289e7b4f" providerId="ADAL" clId="{7D1F2E19-8F1B-479D-B1B7-9293AB71106B}" dt="2020-11-23T12:29:29.175" v="3050" actId="478"/>
          <ac:spMkLst>
            <pc:docMk/>
            <pc:sldMk cId="2741507320" sldId="2609"/>
            <ac:spMk id="40" creationId="{DBB26140-FE4E-4A2C-AF20-7499432EDED7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1" creationId="{6C26B0A6-6527-463E-9D9B-D234A2F588CE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2" creationId="{F107C13D-C1CF-4B0B-AE95-D8AD178CE43D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3" creationId="{2A8B63F3-6566-47F7-A679-FD9A9F010550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4" creationId="{3917CE3A-CA8D-4B4E-8FBE-D1D65DE4C196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5" creationId="{5218511B-FFBF-4840-A51E-D7924EB9BB37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6" creationId="{6676FD05-B290-4EE6-A83F-F88C4E07F417}"/>
          </ac:spMkLst>
        </pc:spChg>
        <pc:spChg chg="add mod">
          <ac:chgData name="Tereza Mendes" userId="bb2291e0-f53c-426c-bc7e-e6da289e7b4f" providerId="ADAL" clId="{7D1F2E19-8F1B-479D-B1B7-9293AB71106B}" dt="2020-11-23T12:42:03.258" v="3751" actId="1037"/>
          <ac:spMkLst>
            <pc:docMk/>
            <pc:sldMk cId="2741507320" sldId="2609"/>
            <ac:spMk id="47" creationId="{7E09D7B8-2D80-4906-B611-B984EFAE8B20}"/>
          </ac:spMkLst>
        </pc:spChg>
        <pc:spChg chg="add mod">
          <ac:chgData name="Tereza Mendes" userId="bb2291e0-f53c-426c-bc7e-e6da289e7b4f" providerId="ADAL" clId="{7D1F2E19-8F1B-479D-B1B7-9293AB71106B}" dt="2020-11-23T12:50:47.754" v="3841" actId="108"/>
          <ac:spMkLst>
            <pc:docMk/>
            <pc:sldMk cId="2741507320" sldId="2609"/>
            <ac:spMk id="48" creationId="{7DD36838-0A8A-43FC-AC51-497A902EFC7F}"/>
          </ac:spMkLst>
        </pc:spChg>
        <pc:spChg chg="add mod">
          <ac:chgData name="Tereza Mendes" userId="bb2291e0-f53c-426c-bc7e-e6da289e7b4f" providerId="ADAL" clId="{7D1F2E19-8F1B-479D-B1B7-9293AB71106B}" dt="2020-11-23T12:50:55.108" v="3842" actId="207"/>
          <ac:spMkLst>
            <pc:docMk/>
            <pc:sldMk cId="2741507320" sldId="2609"/>
            <ac:spMk id="49" creationId="{4EE3F82E-A7E4-47B8-8207-2919F90AA31E}"/>
          </ac:spMkLst>
        </pc:spChg>
        <pc:spChg chg="add del mod">
          <ac:chgData name="Tereza Mendes" userId="bb2291e0-f53c-426c-bc7e-e6da289e7b4f" providerId="ADAL" clId="{7D1F2E19-8F1B-479D-B1B7-9293AB71106B}" dt="2020-11-23T12:54:24.636" v="3896" actId="478"/>
          <ac:spMkLst>
            <pc:docMk/>
            <pc:sldMk cId="2741507320" sldId="2609"/>
            <ac:spMk id="50" creationId="{5F31E473-D72D-4DBB-8519-C2AD490112E1}"/>
          </ac:spMkLst>
        </pc:spChg>
        <pc:graphicFrameChg chg="del">
          <ac:chgData name="Tereza Mendes" userId="bb2291e0-f53c-426c-bc7e-e6da289e7b4f" providerId="ADAL" clId="{7D1F2E19-8F1B-479D-B1B7-9293AB71106B}" dt="2020-11-19T22:11:25.870" v="1969" actId="478"/>
          <ac:graphicFrameMkLst>
            <pc:docMk/>
            <pc:sldMk cId="2741507320" sldId="2609"/>
            <ac:graphicFrameMk id="8" creationId="{9F0083B7-46F5-D64C-B9D0-BAA5C331CB2F}"/>
          </ac:graphicFrameMkLst>
        </pc:graphicFrameChg>
        <pc:graphicFrameChg chg="mod modGraphic">
          <ac:chgData name="Tereza Mendes" userId="bb2291e0-f53c-426c-bc7e-e6da289e7b4f" providerId="ADAL" clId="{7D1F2E19-8F1B-479D-B1B7-9293AB71106B}" dt="2020-11-23T12:53:44.744" v="3895" actId="207"/>
          <ac:graphicFrameMkLst>
            <pc:docMk/>
            <pc:sldMk cId="2741507320" sldId="2609"/>
            <ac:graphicFrameMk id="10" creationId="{3808234C-25E5-494B-85CB-D7B05AB3874D}"/>
          </ac:graphicFrameMkLst>
        </pc:graphicFrameChg>
        <pc:graphicFrameChg chg="mod modGraphic">
          <ac:chgData name="Tereza Mendes" userId="bb2291e0-f53c-426c-bc7e-e6da289e7b4f" providerId="ADAL" clId="{7D1F2E19-8F1B-479D-B1B7-9293AB71106B}" dt="2020-11-23T12:52:57.627" v="3884" actId="403"/>
          <ac:graphicFrameMkLst>
            <pc:docMk/>
            <pc:sldMk cId="2741507320" sldId="2609"/>
            <ac:graphicFrameMk id="28" creationId="{2F73877C-DC86-4836-80F2-BC5381D27C86}"/>
          </ac:graphicFrameMkLst>
        </pc:graphicFrameChg>
      </pc:sldChg>
      <pc:sldChg chg="delSp add del modTransition">
        <pc:chgData name="Tereza Mendes" userId="bb2291e0-f53c-426c-bc7e-e6da289e7b4f" providerId="ADAL" clId="{7D1F2E19-8F1B-479D-B1B7-9293AB71106B}" dt="2020-11-23T13:00:33.039" v="3955" actId="2696"/>
        <pc:sldMkLst>
          <pc:docMk/>
          <pc:sldMk cId="3249900683" sldId="2610"/>
        </pc:sldMkLst>
        <pc:spChg chg="del">
          <ac:chgData name="Tereza Mendes" userId="bb2291e0-f53c-426c-bc7e-e6da289e7b4f" providerId="ADAL" clId="{7D1F2E19-8F1B-479D-B1B7-9293AB71106B}" dt="2020-11-23T12:54:32.054" v="3898" actId="478"/>
          <ac:spMkLst>
            <pc:docMk/>
            <pc:sldMk cId="3249900683" sldId="2610"/>
            <ac:spMk id="29" creationId="{FC9234A0-65BF-4997-845D-BCF90708FBE1}"/>
          </ac:spMkLst>
        </pc:spChg>
      </pc:sldChg>
      <pc:sldChg chg="modSp add">
        <pc:chgData name="Tereza Mendes" userId="bb2291e0-f53c-426c-bc7e-e6da289e7b4f" providerId="ADAL" clId="{7D1F2E19-8F1B-479D-B1B7-9293AB71106B}" dt="2020-11-24T13:02:48.866" v="4119" actId="1036"/>
        <pc:sldMkLst>
          <pc:docMk/>
          <pc:sldMk cId="3902701544" sldId="2611"/>
        </pc:sldMkLst>
        <pc:spChg chg="mod">
          <ac:chgData name="Tereza Mendes" userId="bb2291e0-f53c-426c-bc7e-e6da289e7b4f" providerId="ADAL" clId="{7D1F2E19-8F1B-479D-B1B7-9293AB71106B}" dt="2020-11-23T12:55:07.531" v="3924" actId="14100"/>
          <ac:spMkLst>
            <pc:docMk/>
            <pc:sldMk cId="3902701544" sldId="2611"/>
            <ac:spMk id="5" creationId="{22CA04E0-B405-074C-90EE-198370E84158}"/>
          </ac:spMkLst>
        </pc:spChg>
        <pc:spChg chg="mod">
          <ac:chgData name="Tereza Mendes" userId="bb2291e0-f53c-426c-bc7e-e6da289e7b4f" providerId="ADAL" clId="{7D1F2E19-8F1B-479D-B1B7-9293AB71106B}" dt="2020-11-23T12:55:04.260" v="3923" actId="1035"/>
          <ac:spMkLst>
            <pc:docMk/>
            <pc:sldMk cId="3902701544" sldId="2611"/>
            <ac:spMk id="11" creationId="{B2E74B92-8A8F-6B42-A98D-6620649C22DA}"/>
          </ac:spMkLst>
        </pc:spChg>
        <pc:spChg chg="mod">
          <ac:chgData name="Tereza Mendes" userId="bb2291e0-f53c-426c-bc7e-e6da289e7b4f" providerId="ADAL" clId="{7D1F2E19-8F1B-479D-B1B7-9293AB71106B}" dt="2020-11-23T12:55:21.619" v="3943" actId="1036"/>
          <ac:spMkLst>
            <pc:docMk/>
            <pc:sldMk cId="3902701544" sldId="2611"/>
            <ac:spMk id="16" creationId="{E652A0F1-D81E-4640-BA80-B71FD51FE81D}"/>
          </ac:spMkLst>
        </pc:spChg>
        <pc:spChg chg="mod">
          <ac:chgData name="Tereza Mendes" userId="bb2291e0-f53c-426c-bc7e-e6da289e7b4f" providerId="ADAL" clId="{7D1F2E19-8F1B-479D-B1B7-9293AB71106B}" dt="2020-11-23T12:56:00.251" v="3953" actId="14100"/>
          <ac:spMkLst>
            <pc:docMk/>
            <pc:sldMk cId="3902701544" sldId="2611"/>
            <ac:spMk id="18" creationId="{4C7043CB-D584-A44E-AB1D-2317A60E206A}"/>
          </ac:spMkLst>
        </pc:spChg>
        <pc:spChg chg="mod">
          <ac:chgData name="Tereza Mendes" userId="bb2291e0-f53c-426c-bc7e-e6da289e7b4f" providerId="ADAL" clId="{7D1F2E19-8F1B-479D-B1B7-9293AB71106B}" dt="2020-11-23T12:55:21.619" v="3943" actId="1036"/>
          <ac:spMkLst>
            <pc:docMk/>
            <pc:sldMk cId="3902701544" sldId="2611"/>
            <ac:spMk id="21" creationId="{5E1883CD-B884-C042-B868-4EB254BFD890}"/>
          </ac:spMkLst>
        </pc:spChg>
        <pc:spChg chg="mod">
          <ac:chgData name="Tereza Mendes" userId="bb2291e0-f53c-426c-bc7e-e6da289e7b4f" providerId="ADAL" clId="{7D1F2E19-8F1B-479D-B1B7-9293AB71106B}" dt="2020-11-23T12:55:21.619" v="3943" actId="1036"/>
          <ac:spMkLst>
            <pc:docMk/>
            <pc:sldMk cId="3902701544" sldId="2611"/>
            <ac:spMk id="24" creationId="{08BD17D6-4BB9-2341-A148-9D4C1520D4D2}"/>
          </ac:spMkLst>
        </pc:spChg>
        <pc:spChg chg="mod">
          <ac:chgData name="Tereza Mendes" userId="bb2291e0-f53c-426c-bc7e-e6da289e7b4f" providerId="ADAL" clId="{7D1F2E19-8F1B-479D-B1B7-9293AB71106B}" dt="2020-11-23T12:55:21.619" v="3943" actId="1036"/>
          <ac:spMkLst>
            <pc:docMk/>
            <pc:sldMk cId="3902701544" sldId="2611"/>
            <ac:spMk id="30" creationId="{DC745E3F-8A00-45D0-B26F-D6F9AA8E7865}"/>
          </ac:spMkLst>
        </pc:spChg>
        <pc:spChg chg="mod">
          <ac:chgData name="Tereza Mendes" userId="bb2291e0-f53c-426c-bc7e-e6da289e7b4f" providerId="ADAL" clId="{7D1F2E19-8F1B-479D-B1B7-9293AB71106B}" dt="2020-11-23T12:55:48.856" v="3952" actId="1036"/>
          <ac:spMkLst>
            <pc:docMk/>
            <pc:sldMk cId="3902701544" sldId="2611"/>
            <ac:spMk id="32" creationId="{D8204B35-F475-4A29-AB4D-B0F0F15593A1}"/>
          </ac:spMkLst>
        </pc:spChg>
        <pc:spChg chg="mod">
          <ac:chgData name="Tereza Mendes" userId="bb2291e0-f53c-426c-bc7e-e6da289e7b4f" providerId="ADAL" clId="{7D1F2E19-8F1B-479D-B1B7-9293AB71106B}" dt="2020-11-24T13:02:48.866" v="4119" actId="1036"/>
          <ac:spMkLst>
            <pc:docMk/>
            <pc:sldMk cId="3902701544" sldId="2611"/>
            <ac:spMk id="34" creationId="{36FDAB44-6C90-4339-B5A5-2E78973A47B7}"/>
          </ac:spMkLst>
        </pc:spChg>
        <pc:spChg chg="mod">
          <ac:chgData name="Tereza Mendes" userId="bb2291e0-f53c-426c-bc7e-e6da289e7b4f" providerId="ADAL" clId="{7D1F2E19-8F1B-479D-B1B7-9293AB71106B}" dt="2020-11-24T13:02:43.684" v="4115" actId="1035"/>
          <ac:spMkLst>
            <pc:docMk/>
            <pc:sldMk cId="3902701544" sldId="2611"/>
            <ac:spMk id="35" creationId="{F97C6A4E-2745-46E6-8990-899AA2DF4818}"/>
          </ac:spMkLst>
        </pc:spChg>
        <pc:spChg chg="mod">
          <ac:chgData name="Tereza Mendes" userId="bb2291e0-f53c-426c-bc7e-e6da289e7b4f" providerId="ADAL" clId="{7D1F2E19-8F1B-479D-B1B7-9293AB71106B}" dt="2020-11-23T12:55:36.357" v="3945" actId="1076"/>
          <ac:spMkLst>
            <pc:docMk/>
            <pc:sldMk cId="3902701544" sldId="2611"/>
            <ac:spMk id="37" creationId="{847A685E-FDCF-41FD-9231-83BF7D7E2881}"/>
          </ac:spMkLst>
        </pc:spChg>
        <pc:spChg chg="mod">
          <ac:chgData name="Tereza Mendes" userId="bb2291e0-f53c-426c-bc7e-e6da289e7b4f" providerId="ADAL" clId="{7D1F2E19-8F1B-479D-B1B7-9293AB71106B}" dt="2020-11-23T12:55:45.563" v="3950" actId="1036"/>
          <ac:spMkLst>
            <pc:docMk/>
            <pc:sldMk cId="3902701544" sldId="2611"/>
            <ac:spMk id="41" creationId="{6C26B0A6-6527-463E-9D9B-D234A2F588CE}"/>
          </ac:spMkLst>
        </pc:spChg>
        <pc:spChg chg="mod">
          <ac:chgData name="Tereza Mendes" userId="bb2291e0-f53c-426c-bc7e-e6da289e7b4f" providerId="ADAL" clId="{7D1F2E19-8F1B-479D-B1B7-9293AB71106B}" dt="2020-11-23T12:55:48.856" v="3952" actId="1036"/>
          <ac:spMkLst>
            <pc:docMk/>
            <pc:sldMk cId="3902701544" sldId="2611"/>
            <ac:spMk id="42" creationId="{F107C13D-C1CF-4B0B-AE95-D8AD178CE43D}"/>
          </ac:spMkLst>
        </pc:spChg>
        <pc:spChg chg="mod">
          <ac:chgData name="Tereza Mendes" userId="bb2291e0-f53c-426c-bc7e-e6da289e7b4f" providerId="ADAL" clId="{7D1F2E19-8F1B-479D-B1B7-9293AB71106B}" dt="2020-11-23T12:55:45.563" v="3950" actId="1036"/>
          <ac:spMkLst>
            <pc:docMk/>
            <pc:sldMk cId="3902701544" sldId="2611"/>
            <ac:spMk id="43" creationId="{2A8B63F3-6566-47F7-A679-FD9A9F010550}"/>
          </ac:spMkLst>
        </pc:spChg>
        <pc:spChg chg="mod">
          <ac:chgData name="Tereza Mendes" userId="bb2291e0-f53c-426c-bc7e-e6da289e7b4f" providerId="ADAL" clId="{7D1F2E19-8F1B-479D-B1B7-9293AB71106B}" dt="2020-11-23T12:55:48.856" v="3952" actId="1036"/>
          <ac:spMkLst>
            <pc:docMk/>
            <pc:sldMk cId="3902701544" sldId="2611"/>
            <ac:spMk id="44" creationId="{3917CE3A-CA8D-4B4E-8FBE-D1D65DE4C196}"/>
          </ac:spMkLst>
        </pc:spChg>
        <pc:spChg chg="mod">
          <ac:chgData name="Tereza Mendes" userId="bb2291e0-f53c-426c-bc7e-e6da289e7b4f" providerId="ADAL" clId="{7D1F2E19-8F1B-479D-B1B7-9293AB71106B}" dt="2020-11-23T12:55:45.563" v="3950" actId="1036"/>
          <ac:spMkLst>
            <pc:docMk/>
            <pc:sldMk cId="3902701544" sldId="2611"/>
            <ac:spMk id="45" creationId="{5218511B-FFBF-4840-A51E-D7924EB9BB37}"/>
          </ac:spMkLst>
        </pc:spChg>
        <pc:spChg chg="mod">
          <ac:chgData name="Tereza Mendes" userId="bb2291e0-f53c-426c-bc7e-e6da289e7b4f" providerId="ADAL" clId="{7D1F2E19-8F1B-479D-B1B7-9293AB71106B}" dt="2020-11-23T12:55:48.856" v="3952" actId="1036"/>
          <ac:spMkLst>
            <pc:docMk/>
            <pc:sldMk cId="3902701544" sldId="2611"/>
            <ac:spMk id="46" creationId="{6676FD05-B290-4EE6-A83F-F88C4E07F417}"/>
          </ac:spMkLst>
        </pc:spChg>
        <pc:spChg chg="mod">
          <ac:chgData name="Tereza Mendes" userId="bb2291e0-f53c-426c-bc7e-e6da289e7b4f" providerId="ADAL" clId="{7D1F2E19-8F1B-479D-B1B7-9293AB71106B}" dt="2020-11-23T12:55:45.563" v="3950" actId="1036"/>
          <ac:spMkLst>
            <pc:docMk/>
            <pc:sldMk cId="3902701544" sldId="2611"/>
            <ac:spMk id="47" creationId="{7E09D7B8-2D80-4906-B611-B984EFAE8B20}"/>
          </ac:spMkLst>
        </pc:spChg>
        <pc:spChg chg="mod">
          <ac:chgData name="Tereza Mendes" userId="bb2291e0-f53c-426c-bc7e-e6da289e7b4f" providerId="ADAL" clId="{7D1F2E19-8F1B-479D-B1B7-9293AB71106B}" dt="2020-11-23T12:55:04.260" v="3923" actId="1035"/>
          <ac:spMkLst>
            <pc:docMk/>
            <pc:sldMk cId="3902701544" sldId="2611"/>
            <ac:spMk id="48" creationId="{7DD36838-0A8A-43FC-AC51-497A902EFC7F}"/>
          </ac:spMkLst>
        </pc:spChg>
        <pc:spChg chg="mod">
          <ac:chgData name="Tereza Mendes" userId="bb2291e0-f53c-426c-bc7e-e6da289e7b4f" providerId="ADAL" clId="{7D1F2E19-8F1B-479D-B1B7-9293AB71106B}" dt="2020-11-23T12:55:11.941" v="3925" actId="14100"/>
          <ac:spMkLst>
            <pc:docMk/>
            <pc:sldMk cId="3902701544" sldId="2611"/>
            <ac:spMk id="49" creationId="{4EE3F82E-A7E4-47B8-8207-2919F90AA31E}"/>
          </ac:spMkLst>
        </pc:spChg>
        <pc:graphicFrameChg chg="mod">
          <ac:chgData name="Tereza Mendes" userId="bb2291e0-f53c-426c-bc7e-e6da289e7b4f" providerId="ADAL" clId="{7D1F2E19-8F1B-479D-B1B7-9293AB71106B}" dt="2020-11-24T13:02:48.866" v="4119" actId="1036"/>
          <ac:graphicFrameMkLst>
            <pc:docMk/>
            <pc:sldMk cId="3902701544" sldId="2611"/>
            <ac:graphicFrameMk id="10" creationId="{3808234C-25E5-494B-85CB-D7B05AB3874D}"/>
          </ac:graphicFrameMkLst>
        </pc:graphicFrameChg>
        <pc:graphicFrameChg chg="mod">
          <ac:chgData name="Tereza Mendes" userId="bb2291e0-f53c-426c-bc7e-e6da289e7b4f" providerId="ADAL" clId="{7D1F2E19-8F1B-479D-B1B7-9293AB71106B}" dt="2020-11-24T13:02:43.684" v="4115" actId="1035"/>
          <ac:graphicFrameMkLst>
            <pc:docMk/>
            <pc:sldMk cId="3902701544" sldId="2611"/>
            <ac:graphicFrameMk id="28" creationId="{2F73877C-DC86-4836-80F2-BC5381D27C86}"/>
          </ac:graphicFrameMkLst>
        </pc:graphicFrameChg>
      </pc:sldChg>
      <pc:sldChg chg="del">
        <pc:chgData name="Tereza Mendes" userId="bb2291e0-f53c-426c-bc7e-e6da289e7b4f" providerId="ADAL" clId="{7D1F2E19-8F1B-479D-B1B7-9293AB71106B}" dt="2020-11-24T13:14:56.994" v="4126" actId="2696"/>
        <pc:sldMkLst>
          <pc:docMk/>
          <pc:sldMk cId="3947637423" sldId="2612"/>
        </pc:sldMkLst>
      </pc:sldChg>
    </pc:docChg>
  </pc:docChgLst>
  <pc:docChgLst>
    <pc:chgData name="Thaís Gondim" userId="S::thais.gondim@xpi.com.br::b3fd6bee-c7e3-40bb-b930-c0cfe2d46b19" providerId="AD" clId="Web-{5C7576DE-9A2F-6703-44AB-7E7BA8DB4C5C}"/>
    <pc:docChg chg="modSld">
      <pc:chgData name="Thaís Gondim" userId="S::thais.gondim@xpi.com.br::b3fd6bee-c7e3-40bb-b930-c0cfe2d46b19" providerId="AD" clId="Web-{5C7576DE-9A2F-6703-44AB-7E7BA8DB4C5C}" dt="2020-11-24T17:27:16.364" v="24" actId="20577"/>
      <pc:docMkLst>
        <pc:docMk/>
      </pc:docMkLst>
      <pc:sldChg chg="modSp">
        <pc:chgData name="Thaís Gondim" userId="S::thais.gondim@xpi.com.br::b3fd6bee-c7e3-40bb-b930-c0cfe2d46b19" providerId="AD" clId="Web-{5C7576DE-9A2F-6703-44AB-7E7BA8DB4C5C}" dt="2020-11-24T17:23:45.594" v="7" actId="1076"/>
        <pc:sldMkLst>
          <pc:docMk/>
          <pc:sldMk cId="2894463681" sldId="298"/>
        </pc:sldMkLst>
        <pc:spChg chg="mod">
          <ac:chgData name="Thaís Gondim" userId="S::thais.gondim@xpi.com.br::b3fd6bee-c7e3-40bb-b930-c0cfe2d46b19" providerId="AD" clId="Web-{5C7576DE-9A2F-6703-44AB-7E7BA8DB4C5C}" dt="2020-11-24T17:23:45.594" v="7" actId="1076"/>
          <ac:spMkLst>
            <pc:docMk/>
            <pc:sldMk cId="2894463681" sldId="298"/>
            <ac:spMk id="15" creationId="{EC814720-EBB1-F24B-8040-9F527AD7235F}"/>
          </ac:spMkLst>
        </pc:spChg>
        <pc:spChg chg="mod">
          <ac:chgData name="Thaís Gondim" userId="S::thais.gondim@xpi.com.br::b3fd6bee-c7e3-40bb-b930-c0cfe2d46b19" providerId="AD" clId="Web-{5C7576DE-9A2F-6703-44AB-7E7BA8DB4C5C}" dt="2020-11-24T17:23:36.687" v="4"/>
          <ac:spMkLst>
            <pc:docMk/>
            <pc:sldMk cId="2894463681" sldId="298"/>
            <ac:spMk id="17" creationId="{D2AFB1DA-0AA1-9144-93B9-B523DC4FFA7D}"/>
          </ac:spMkLst>
        </pc:spChg>
      </pc:sldChg>
      <pc:sldChg chg="modSp">
        <pc:chgData name="Thaís Gondim" userId="S::thais.gondim@xpi.com.br::b3fd6bee-c7e3-40bb-b930-c0cfe2d46b19" providerId="AD" clId="Web-{5C7576DE-9A2F-6703-44AB-7E7BA8DB4C5C}" dt="2020-11-24T17:24:00.750" v="8" actId="14100"/>
        <pc:sldMkLst>
          <pc:docMk/>
          <pc:sldMk cId="1325684358" sldId="2586"/>
        </pc:sldMkLst>
        <pc:spChg chg="mod">
          <ac:chgData name="Thaís Gondim" userId="S::thais.gondim@xpi.com.br::b3fd6bee-c7e3-40bb-b930-c0cfe2d46b19" providerId="AD" clId="Web-{5C7576DE-9A2F-6703-44AB-7E7BA8DB4C5C}" dt="2020-11-24T17:24:00.750" v="8" actId="14100"/>
          <ac:spMkLst>
            <pc:docMk/>
            <pc:sldMk cId="1325684358" sldId="2586"/>
            <ac:spMk id="85" creationId="{A3C3796A-3478-493C-A7CD-0270E70232C8}"/>
          </ac:spMkLst>
        </pc:spChg>
      </pc:sldChg>
      <pc:sldChg chg="modSp">
        <pc:chgData name="Thaís Gondim" userId="S::thais.gondim@xpi.com.br::b3fd6bee-c7e3-40bb-b930-c0cfe2d46b19" providerId="AD" clId="Web-{5C7576DE-9A2F-6703-44AB-7E7BA8DB4C5C}" dt="2020-11-24T17:24:49.236" v="15" actId="20577"/>
        <pc:sldMkLst>
          <pc:docMk/>
          <pc:sldMk cId="692536801" sldId="2602"/>
        </pc:sldMkLst>
        <pc:spChg chg="mod">
          <ac:chgData name="Thaís Gondim" userId="S::thais.gondim@xpi.com.br::b3fd6bee-c7e3-40bb-b930-c0cfe2d46b19" providerId="AD" clId="Web-{5C7576DE-9A2F-6703-44AB-7E7BA8DB4C5C}" dt="2020-11-24T17:24:49.236" v="15" actId="20577"/>
          <ac:spMkLst>
            <pc:docMk/>
            <pc:sldMk cId="692536801" sldId="2602"/>
            <ac:spMk id="54" creationId="{FE30DDB6-CAC6-2345-923A-4BBCEF80675D}"/>
          </ac:spMkLst>
        </pc:spChg>
      </pc:sldChg>
      <pc:sldChg chg="modSp">
        <pc:chgData name="Thaís Gondim" userId="S::thais.gondim@xpi.com.br::b3fd6bee-c7e3-40bb-b930-c0cfe2d46b19" providerId="AD" clId="Web-{5C7576DE-9A2F-6703-44AB-7E7BA8DB4C5C}" dt="2020-11-24T17:27:15.739" v="23" actId="20577"/>
        <pc:sldMkLst>
          <pc:docMk/>
          <pc:sldMk cId="2640036050" sldId="2608"/>
        </pc:sldMkLst>
        <pc:spChg chg="mod">
          <ac:chgData name="Thaís Gondim" userId="S::thais.gondim@xpi.com.br::b3fd6bee-c7e3-40bb-b930-c0cfe2d46b19" providerId="AD" clId="Web-{5C7576DE-9A2F-6703-44AB-7E7BA8DB4C5C}" dt="2020-11-24T17:27:15.739" v="23" actId="20577"/>
          <ac:spMkLst>
            <pc:docMk/>
            <pc:sldMk cId="2640036050" sldId="2608"/>
            <ac:spMk id="120" creationId="{00000000-0000-0000-0000-000000000000}"/>
          </ac:spMkLst>
        </pc:spChg>
      </pc:sldChg>
    </pc:docChg>
  </pc:docChgLst>
  <pc:docChgLst>
    <pc:chgData name="Maria Tereza Salgueiro Ramalho Mendes" userId="bb2291e0-f53c-426c-bc7e-e6da289e7b4f" providerId="ADAL" clId="{4E2D14C3-4C81-4449-96AF-2D365022FBEF}"/>
    <pc:docChg chg="custSel addSld delSld modSld sldOrd modSection">
      <pc:chgData name="Maria Tereza Salgueiro Ramalho Mendes" userId="bb2291e0-f53c-426c-bc7e-e6da289e7b4f" providerId="ADAL" clId="{4E2D14C3-4C81-4449-96AF-2D365022FBEF}" dt="2020-11-30T21:00:09.232" v="1743" actId="20577"/>
      <pc:docMkLst>
        <pc:docMk/>
      </pc:docMkLst>
      <pc:sldChg chg="modSp">
        <pc:chgData name="Maria Tereza Salgueiro Ramalho Mendes" userId="bb2291e0-f53c-426c-bc7e-e6da289e7b4f" providerId="ADAL" clId="{4E2D14C3-4C81-4449-96AF-2D365022FBEF}" dt="2020-11-30T20:55:25.518" v="1607" actId="20577"/>
        <pc:sldMkLst>
          <pc:docMk/>
          <pc:sldMk cId="2894463681" sldId="298"/>
        </pc:sldMkLst>
        <pc:spChg chg="mod">
          <ac:chgData name="Maria Tereza Salgueiro Ramalho Mendes" userId="bb2291e0-f53c-426c-bc7e-e6da289e7b4f" providerId="ADAL" clId="{4E2D14C3-4C81-4449-96AF-2D365022FBEF}" dt="2020-11-30T20:55:25.518" v="1607" actId="20577"/>
          <ac:spMkLst>
            <pc:docMk/>
            <pc:sldMk cId="2894463681" sldId="298"/>
            <ac:spMk id="17" creationId="{D2AFB1DA-0AA1-9144-93B9-B523DC4FFA7D}"/>
          </ac:spMkLst>
        </pc:spChg>
      </pc:sldChg>
      <pc:sldChg chg="modSp">
        <pc:chgData name="Maria Tereza Salgueiro Ramalho Mendes" userId="bb2291e0-f53c-426c-bc7e-e6da289e7b4f" providerId="ADAL" clId="{4E2D14C3-4C81-4449-96AF-2D365022FBEF}" dt="2020-11-30T20:04:42.182" v="35" actId="20577"/>
        <pc:sldMkLst>
          <pc:docMk/>
          <pc:sldMk cId="0" sldId="1839"/>
        </pc:sldMkLst>
        <pc:spChg chg="mod">
          <ac:chgData name="Maria Tereza Salgueiro Ramalho Mendes" userId="bb2291e0-f53c-426c-bc7e-e6da289e7b4f" providerId="ADAL" clId="{4E2D14C3-4C81-4449-96AF-2D365022FBEF}" dt="2020-11-30T20:04:42.182" v="35" actId="20577"/>
          <ac:spMkLst>
            <pc:docMk/>
            <pc:sldMk cId="0" sldId="1839"/>
            <ac:spMk id="8" creationId="{A9B5EE92-6EDD-F743-95B9-9C5A738E4F41}"/>
          </ac:spMkLst>
        </pc:spChg>
        <pc:spChg chg="mod">
          <ac:chgData name="Maria Tereza Salgueiro Ramalho Mendes" userId="bb2291e0-f53c-426c-bc7e-e6da289e7b4f" providerId="ADAL" clId="{4E2D14C3-4C81-4449-96AF-2D365022FBEF}" dt="2020-11-30T20:04:38.709" v="27" actId="20577"/>
          <ac:spMkLst>
            <pc:docMk/>
            <pc:sldMk cId="0" sldId="1839"/>
            <ac:spMk id="120" creationId="{00000000-0000-0000-0000-000000000000}"/>
          </ac:spMkLst>
        </pc:spChg>
      </pc:sldChg>
      <pc:sldChg chg="addSp delSp modSp">
        <pc:chgData name="Maria Tereza Salgueiro Ramalho Mendes" userId="bb2291e0-f53c-426c-bc7e-e6da289e7b4f" providerId="ADAL" clId="{4E2D14C3-4C81-4449-96AF-2D365022FBEF}" dt="2020-11-30T21:00:09.232" v="1743" actId="20577"/>
        <pc:sldMkLst>
          <pc:docMk/>
          <pc:sldMk cId="1325684358" sldId="2586"/>
        </pc:sldMkLst>
        <pc:spChg chg="mod">
          <ac:chgData name="Maria Tereza Salgueiro Ramalho Mendes" userId="bb2291e0-f53c-426c-bc7e-e6da289e7b4f" providerId="ADAL" clId="{4E2D14C3-4C81-4449-96AF-2D365022FBEF}" dt="2020-11-30T20:05:44.138" v="208" actId="20577"/>
          <ac:spMkLst>
            <pc:docMk/>
            <pc:sldMk cId="1325684358" sldId="2586"/>
            <ac:spMk id="2" creationId="{E4065686-F7E1-4579-8528-CCDA6A8807B3}"/>
          </ac:spMkLst>
        </pc:spChg>
        <pc:spChg chg="add mod">
          <ac:chgData name="Maria Tereza Salgueiro Ramalho Mendes" userId="bb2291e0-f53c-426c-bc7e-e6da289e7b4f" providerId="ADAL" clId="{4E2D14C3-4C81-4449-96AF-2D365022FBEF}" dt="2020-11-30T20:06:07.108" v="213" actId="1076"/>
          <ac:spMkLst>
            <pc:docMk/>
            <pc:sldMk cId="1325684358" sldId="2586"/>
            <ac:spMk id="50" creationId="{11FAFF58-F671-4754-A6A7-457C4BD9ECC3}"/>
          </ac:spMkLst>
        </pc:spChg>
        <pc:spChg chg="add mod">
          <ac:chgData name="Maria Tereza Salgueiro Ramalho Mendes" userId="bb2291e0-f53c-426c-bc7e-e6da289e7b4f" providerId="ADAL" clId="{4E2D14C3-4C81-4449-96AF-2D365022FBEF}" dt="2020-11-30T20:23:39.620" v="1082" actId="1076"/>
          <ac:spMkLst>
            <pc:docMk/>
            <pc:sldMk cId="1325684358" sldId="2586"/>
            <ac:spMk id="53" creationId="{01898525-1415-40F2-A04D-799F614A28C7}"/>
          </ac:spMkLst>
        </pc:spChg>
        <pc:spChg chg="add mod">
          <ac:chgData name="Maria Tereza Salgueiro Ramalho Mendes" userId="bb2291e0-f53c-426c-bc7e-e6da289e7b4f" providerId="ADAL" clId="{4E2D14C3-4C81-4449-96AF-2D365022FBEF}" dt="2020-11-30T20:23:39.620" v="1082" actId="1076"/>
          <ac:spMkLst>
            <pc:docMk/>
            <pc:sldMk cId="1325684358" sldId="2586"/>
            <ac:spMk id="55" creationId="{7323DA5A-4408-426A-91E1-0F83AC1B4AF1}"/>
          </ac:spMkLst>
        </pc:spChg>
        <pc:spChg chg="mod">
          <ac:chgData name="Maria Tereza Salgueiro Ramalho Mendes" userId="bb2291e0-f53c-426c-bc7e-e6da289e7b4f" providerId="ADAL" clId="{4E2D14C3-4C81-4449-96AF-2D365022FBEF}" dt="2020-11-30T20:21:00.908" v="1003" actId="20577"/>
          <ac:spMkLst>
            <pc:docMk/>
            <pc:sldMk cId="1325684358" sldId="2586"/>
            <ac:spMk id="59" creationId="{5FAA9B5E-5BC5-450C-9FE2-C5C73C99FB00}"/>
          </ac:spMkLst>
        </pc:spChg>
        <pc:spChg chg="del">
          <ac:chgData name="Maria Tereza Salgueiro Ramalho Mendes" userId="bb2291e0-f53c-426c-bc7e-e6da289e7b4f" providerId="ADAL" clId="{4E2D14C3-4C81-4449-96AF-2D365022FBEF}" dt="2020-11-30T20:06:09.991" v="214" actId="478"/>
          <ac:spMkLst>
            <pc:docMk/>
            <pc:sldMk cId="1325684358" sldId="2586"/>
            <ac:spMk id="61" creationId="{4D2D8B8C-FCB7-45D4-B4D2-37F6AD39B069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62" creationId="{E026D895-DB72-4C71-AAC9-D0FF8C92F341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63" creationId="{0EDED8A3-9850-457D-8558-9B0CC70A6A71}"/>
          </ac:spMkLst>
        </pc:spChg>
        <pc:spChg chg="mod">
          <ac:chgData name="Maria Tereza Salgueiro Ramalho Mendes" userId="bb2291e0-f53c-426c-bc7e-e6da289e7b4f" providerId="ADAL" clId="{4E2D14C3-4C81-4449-96AF-2D365022FBEF}" dt="2020-11-30T20:21:04.166" v="1014" actId="20577"/>
          <ac:spMkLst>
            <pc:docMk/>
            <pc:sldMk cId="1325684358" sldId="2586"/>
            <ac:spMk id="66" creationId="{46CEDF37-3084-4DCE-B06F-58C3B59DC869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67" creationId="{47E626DB-8608-43EB-B5F3-4F639E845054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68" creationId="{202F0130-1A4B-4BD0-ABBD-962ED043AEEC}"/>
          </ac:spMkLst>
        </pc:spChg>
        <pc:spChg chg="mod">
          <ac:chgData name="Maria Tereza Salgueiro Ramalho Mendes" userId="bb2291e0-f53c-426c-bc7e-e6da289e7b4f" providerId="ADAL" clId="{4E2D14C3-4C81-4449-96AF-2D365022FBEF}" dt="2020-11-30T20:06:13.391" v="215" actId="1076"/>
          <ac:spMkLst>
            <pc:docMk/>
            <pc:sldMk cId="1325684358" sldId="2586"/>
            <ac:spMk id="69" creationId="{4C7B0119-5700-480B-BA2C-28AA2CAE7C36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72" creationId="{DDABC184-9B71-4310-974A-2C4A3B6C2FA3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73" creationId="{57D34F15-2989-40F2-BBEB-92E04FF1716A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74" creationId="{9134B05E-BA66-471A-AEAE-9763C410B4A0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76" creationId="{D248EF24-B248-435B-8914-7DAE15ABB111}"/>
          </ac:spMkLst>
        </pc:spChg>
        <pc:spChg chg="add mod">
          <ac:chgData name="Maria Tereza Salgueiro Ramalho Mendes" userId="bb2291e0-f53c-426c-bc7e-e6da289e7b4f" providerId="ADAL" clId="{4E2D14C3-4C81-4449-96AF-2D365022FBEF}" dt="2020-11-30T20:22:29.473" v="1080" actId="13926"/>
          <ac:spMkLst>
            <pc:docMk/>
            <pc:sldMk cId="1325684358" sldId="2586"/>
            <ac:spMk id="77" creationId="{C2DE199B-22C6-41FE-A344-08EA200C296D}"/>
          </ac:spMkLst>
        </pc:spChg>
        <pc:spChg chg="add mod">
          <ac:chgData name="Maria Tereza Salgueiro Ramalho Mendes" userId="bb2291e0-f53c-426c-bc7e-e6da289e7b4f" providerId="ADAL" clId="{4E2D14C3-4C81-4449-96AF-2D365022FBEF}" dt="2020-11-30T20:24:25.696" v="1099" actId="1076"/>
          <ac:spMkLst>
            <pc:docMk/>
            <pc:sldMk cId="1325684358" sldId="2586"/>
            <ac:spMk id="78" creationId="{D8BA5B42-82D6-4869-8E4F-45DD5C7C8DE1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80" creationId="{68D8E4A6-DFB0-4991-9D7A-9AAAF86F9377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85" creationId="{A3C3796A-3478-493C-A7CD-0270E70232C8}"/>
          </ac:spMkLst>
        </pc:spChg>
        <pc:spChg chg="del">
          <ac:chgData name="Maria Tereza Salgueiro Ramalho Mendes" userId="bb2291e0-f53c-426c-bc7e-e6da289e7b4f" providerId="ADAL" clId="{4E2D14C3-4C81-4449-96AF-2D365022FBEF}" dt="2020-11-30T20:06:05.360" v="212" actId="478"/>
          <ac:spMkLst>
            <pc:docMk/>
            <pc:sldMk cId="1325684358" sldId="2586"/>
            <ac:spMk id="87" creationId="{4AE5A50D-49D3-4F05-B6AE-BB6FFF4D80A5}"/>
          </ac:spMkLst>
        </pc:spChg>
        <pc:spChg chg="del">
          <ac:chgData name="Maria Tereza Salgueiro Ramalho Mendes" userId="bb2291e0-f53c-426c-bc7e-e6da289e7b4f" providerId="ADAL" clId="{4E2D14C3-4C81-4449-96AF-2D365022FBEF}" dt="2020-11-30T20:06:09.991" v="214" actId="478"/>
          <ac:spMkLst>
            <pc:docMk/>
            <pc:sldMk cId="1325684358" sldId="2586"/>
            <ac:spMk id="88" creationId="{BC7BFEA1-6CB1-418A-B6A0-85B6BC650AA9}"/>
          </ac:spMkLst>
        </pc:spChg>
        <pc:spChg chg="del">
          <ac:chgData name="Maria Tereza Salgueiro Ramalho Mendes" userId="bb2291e0-f53c-426c-bc7e-e6da289e7b4f" providerId="ADAL" clId="{4E2D14C3-4C81-4449-96AF-2D365022FBEF}" dt="2020-11-30T20:06:05.360" v="212" actId="478"/>
          <ac:spMkLst>
            <pc:docMk/>
            <pc:sldMk cId="1325684358" sldId="2586"/>
            <ac:spMk id="89" creationId="{5BB394A0-CF58-437A-9C65-3288C489D0B9}"/>
          </ac:spMkLst>
        </pc:spChg>
        <pc:spChg chg="del">
          <ac:chgData name="Maria Tereza Salgueiro Ramalho Mendes" userId="bb2291e0-f53c-426c-bc7e-e6da289e7b4f" providerId="ADAL" clId="{4E2D14C3-4C81-4449-96AF-2D365022FBEF}" dt="2020-11-30T20:06:09.991" v="214" actId="478"/>
          <ac:spMkLst>
            <pc:docMk/>
            <pc:sldMk cId="1325684358" sldId="2586"/>
            <ac:spMk id="99" creationId="{9FDEFEB2-F134-400D-A510-354C66A3953B}"/>
          </ac:spMkLst>
        </pc:spChg>
        <pc:spChg chg="del">
          <ac:chgData name="Maria Tereza Salgueiro Ramalho Mendes" userId="bb2291e0-f53c-426c-bc7e-e6da289e7b4f" providerId="ADAL" clId="{4E2D14C3-4C81-4449-96AF-2D365022FBEF}" dt="2020-11-30T20:06:05.360" v="212" actId="478"/>
          <ac:spMkLst>
            <pc:docMk/>
            <pc:sldMk cId="1325684358" sldId="2586"/>
            <ac:spMk id="103" creationId="{735426D4-66FE-4A98-AD1E-277E4178F1D8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106" creationId="{C0E9A994-38F9-4203-A619-86DFA069BA6C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107" creationId="{1DF89BB4-7515-4A1C-A08E-B58570BDDCF2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108" creationId="{02A80DAE-2902-425D-9B6D-A51C1E99D04B}"/>
          </ac:spMkLst>
        </pc:spChg>
        <pc:spChg chg="del">
          <ac:chgData name="Maria Tereza Salgueiro Ramalho Mendes" userId="bb2291e0-f53c-426c-bc7e-e6da289e7b4f" providerId="ADAL" clId="{4E2D14C3-4C81-4449-96AF-2D365022FBEF}" dt="2020-11-30T20:06:02.207" v="211" actId="478"/>
          <ac:spMkLst>
            <pc:docMk/>
            <pc:sldMk cId="1325684358" sldId="2586"/>
            <ac:spMk id="114" creationId="{1F314095-71B7-4D77-8FB4-588C833946C3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117" creationId="{C422524D-73D2-4F01-B09A-F9D40D9897CA}"/>
          </ac:spMkLst>
        </pc:spChg>
        <pc:spChg chg="del">
          <ac:chgData name="Maria Tereza Salgueiro Ramalho Mendes" userId="bb2291e0-f53c-426c-bc7e-e6da289e7b4f" providerId="ADAL" clId="{4E2D14C3-4C81-4449-96AF-2D365022FBEF}" dt="2020-11-30T20:06:01.104" v="210" actId="478"/>
          <ac:spMkLst>
            <pc:docMk/>
            <pc:sldMk cId="1325684358" sldId="2586"/>
            <ac:spMk id="118" creationId="{F07F4323-E6DB-40EB-8C0F-BE66FE3A8947}"/>
          </ac:spMkLst>
        </pc:spChg>
        <pc:grpChg chg="del">
          <ac:chgData name="Maria Tereza Salgueiro Ramalho Mendes" userId="bb2291e0-f53c-426c-bc7e-e6da289e7b4f" providerId="ADAL" clId="{4E2D14C3-4C81-4449-96AF-2D365022FBEF}" dt="2020-11-30T20:06:01.104" v="210" actId="478"/>
          <ac:grpSpMkLst>
            <pc:docMk/>
            <pc:sldMk cId="1325684358" sldId="2586"/>
            <ac:grpSpMk id="9" creationId="{82005A69-D112-4335-84EE-C5A208C49601}"/>
          </ac:grpSpMkLst>
        </pc:grpChg>
        <pc:grpChg chg="add mod">
          <ac:chgData name="Maria Tereza Salgueiro Ramalho Mendes" userId="bb2291e0-f53c-426c-bc7e-e6da289e7b4f" providerId="ADAL" clId="{4E2D14C3-4C81-4449-96AF-2D365022FBEF}" dt="2020-11-30T20:21:12.952" v="1016" actId="1076"/>
          <ac:grpSpMkLst>
            <pc:docMk/>
            <pc:sldMk cId="1325684358" sldId="2586"/>
            <ac:grpSpMk id="56" creationId="{3E8B4AD0-3BDD-4F5A-9C6C-58C724FDD305}"/>
          </ac:grpSpMkLst>
        </pc:grpChg>
        <pc:grpChg chg="add mod">
          <ac:chgData name="Maria Tereza Salgueiro Ramalho Mendes" userId="bb2291e0-f53c-426c-bc7e-e6da289e7b4f" providerId="ADAL" clId="{4E2D14C3-4C81-4449-96AF-2D365022FBEF}" dt="2020-11-30T20:21:18.295" v="1017" actId="1076"/>
          <ac:grpSpMkLst>
            <pc:docMk/>
            <pc:sldMk cId="1325684358" sldId="2586"/>
            <ac:grpSpMk id="64" creationId="{3BD949F4-8811-40CA-B3B6-45269F426009}"/>
          </ac:grpSpMkLst>
        </pc:grpChg>
        <pc:grpChg chg="add del mod">
          <ac:chgData name="Maria Tereza Salgueiro Ramalho Mendes" userId="bb2291e0-f53c-426c-bc7e-e6da289e7b4f" providerId="ADAL" clId="{4E2D14C3-4C81-4449-96AF-2D365022FBEF}" dt="2020-11-30T20:21:08.852" v="1015" actId="478"/>
          <ac:grpSpMkLst>
            <pc:docMk/>
            <pc:sldMk cId="1325684358" sldId="2586"/>
            <ac:grpSpMk id="70" creationId="{5DEA4C78-2626-4192-8C24-2AFDECAA256B}"/>
          </ac:grpSpMkLst>
        </pc:grpChg>
        <pc:grpChg chg="del">
          <ac:chgData name="Maria Tereza Salgueiro Ramalho Mendes" userId="bb2291e0-f53c-426c-bc7e-e6da289e7b4f" providerId="ADAL" clId="{4E2D14C3-4C81-4449-96AF-2D365022FBEF}" dt="2020-11-30T20:06:09.991" v="214" actId="478"/>
          <ac:grpSpMkLst>
            <pc:docMk/>
            <pc:sldMk cId="1325684358" sldId="2586"/>
            <ac:grpSpMk id="100" creationId="{38D5C03C-A7BD-43E6-ACF6-BC829447E7F0}"/>
          </ac:grpSpMkLst>
        </pc:grpChg>
        <pc:grpChg chg="del">
          <ac:chgData name="Maria Tereza Salgueiro Ramalho Mendes" userId="bb2291e0-f53c-426c-bc7e-e6da289e7b4f" providerId="ADAL" clId="{4E2D14C3-4C81-4449-96AF-2D365022FBEF}" dt="2020-11-30T20:06:01.104" v="210" actId="478"/>
          <ac:grpSpMkLst>
            <pc:docMk/>
            <pc:sldMk cId="1325684358" sldId="2586"/>
            <ac:grpSpMk id="119" creationId="{C4AE8125-685A-4579-BA74-7695ADE182A2}"/>
          </ac:grpSpMkLst>
        </pc:grpChg>
        <pc:grpChg chg="mod">
          <ac:chgData name="Maria Tereza Salgueiro Ramalho Mendes" userId="bb2291e0-f53c-426c-bc7e-e6da289e7b4f" providerId="ADAL" clId="{4E2D14C3-4C81-4449-96AF-2D365022FBEF}" dt="2020-11-30T20:24:41.587" v="1100" actId="1076"/>
          <ac:grpSpMkLst>
            <pc:docMk/>
            <pc:sldMk cId="1325684358" sldId="2586"/>
            <ac:grpSpMk id="120" creationId="{60EEAC3B-F2B5-4626-BD55-A0361A602F15}"/>
          </ac:grpSpMkLst>
        </pc:grpChg>
        <pc:graphicFrameChg chg="add mod modGraphic">
          <ac:chgData name="Maria Tereza Salgueiro Ramalho Mendes" userId="bb2291e0-f53c-426c-bc7e-e6da289e7b4f" providerId="ADAL" clId="{4E2D14C3-4C81-4449-96AF-2D365022FBEF}" dt="2020-11-30T21:00:09.232" v="1743" actId="20577"/>
          <ac:graphicFrameMkLst>
            <pc:docMk/>
            <pc:sldMk cId="1325684358" sldId="2586"/>
            <ac:graphicFrameMk id="7" creationId="{16CB7E22-3BAD-4002-B248-E208A823C213}"/>
          </ac:graphicFrameMkLst>
        </pc:graphicFrame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3" creationId="{C3304403-1C25-4770-8589-563E5D7F4F48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5" creationId="{1FA136AB-07F6-4B1F-B558-685E57C55015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6" creationId="{A4165214-4E46-4636-8C2F-AE1E47F915C6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40" creationId="{28E29266-7399-47D8-A162-952C33FC3A1D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9.991" v="214" actId="478"/>
          <ac:picMkLst>
            <pc:docMk/>
            <pc:sldMk cId="1325684358" sldId="2586"/>
            <ac:picMk id="48" creationId="{57EB12D3-1F3F-480F-B4AE-B9078E673762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54" creationId="{896385C4-2E63-43D4-A3A5-75095839C3CB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58" creationId="{943538BC-FAA9-4926-9094-2B3567893143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60" creationId="{AC5E839A-FC7A-4854-99BB-21709B146327}"/>
          </ac:picMkLst>
        </pc:picChg>
        <pc:picChg chg="del">
          <ac:chgData name="Maria Tereza Salgueiro Ramalho Mendes" userId="bb2291e0-f53c-426c-bc7e-e6da289e7b4f" providerId="ADAL" clId="{4E2D14C3-4C81-4449-96AF-2D365022FBEF}" dt="2020-11-30T20:06:01.104" v="210" actId="478"/>
          <ac:picMkLst>
            <pc:docMk/>
            <pc:sldMk cId="1325684358" sldId="2586"/>
            <ac:picMk id="124" creationId="{E96D94D5-0544-4467-9F83-E74CB5B5ADA5}"/>
          </ac:picMkLst>
        </pc:picChg>
      </pc:sldChg>
      <pc:sldChg chg="modTransition">
        <pc:chgData name="Maria Tereza Salgueiro Ramalho Mendes" userId="bb2291e0-f53c-426c-bc7e-e6da289e7b4f" providerId="ADAL" clId="{4E2D14C3-4C81-4449-96AF-2D365022FBEF}" dt="2020-11-30T20:04:22.788" v="6"/>
        <pc:sldMkLst>
          <pc:docMk/>
          <pc:sldMk cId="2723736128" sldId="2589"/>
        </pc:sldMkLst>
      </pc:sldChg>
      <pc:sldChg chg="ord">
        <pc:chgData name="Maria Tereza Salgueiro Ramalho Mendes" userId="bb2291e0-f53c-426c-bc7e-e6da289e7b4f" providerId="ADAL" clId="{4E2D14C3-4C81-4449-96AF-2D365022FBEF}" dt="2020-11-30T20:10:54.793" v="665"/>
        <pc:sldMkLst>
          <pc:docMk/>
          <pc:sldMk cId="2577571386" sldId="2590"/>
        </pc:sldMkLst>
      </pc:sldChg>
      <pc:sldChg chg="modTransition">
        <pc:chgData name="Maria Tereza Salgueiro Ramalho Mendes" userId="bb2291e0-f53c-426c-bc7e-e6da289e7b4f" providerId="ADAL" clId="{4E2D14C3-4C81-4449-96AF-2D365022FBEF}" dt="2020-11-30T20:04:21.401" v="5"/>
        <pc:sldMkLst>
          <pc:docMk/>
          <pc:sldMk cId="692536801" sldId="2602"/>
        </pc:sldMkLst>
      </pc:sldChg>
      <pc:sldChg chg="delSp modTransition delAnim">
        <pc:chgData name="Maria Tereza Salgueiro Ramalho Mendes" userId="bb2291e0-f53c-426c-bc7e-e6da289e7b4f" providerId="ADAL" clId="{4E2D14C3-4C81-4449-96AF-2D365022FBEF}" dt="2020-11-30T20:04:09.452" v="1"/>
        <pc:sldMkLst>
          <pc:docMk/>
          <pc:sldMk cId="2995099403" sldId="2606"/>
        </pc:sldMkLst>
        <pc:picChg chg="del">
          <ac:chgData name="Maria Tereza Salgueiro Ramalho Mendes" userId="bb2291e0-f53c-426c-bc7e-e6da289e7b4f" providerId="ADAL" clId="{4E2D14C3-4C81-4449-96AF-2D365022FBEF}" dt="2020-11-30T20:03:45.569" v="0" actId="478"/>
          <ac:picMkLst>
            <pc:docMk/>
            <pc:sldMk cId="2995099403" sldId="2606"/>
            <ac:picMk id="65" creationId="{7DBBBDA7-6B69-42AD-8D24-1F1E295A8DAE}"/>
          </ac:picMkLst>
        </pc:picChg>
      </pc:sldChg>
      <pc:sldChg chg="modTransition">
        <pc:chgData name="Maria Tereza Salgueiro Ramalho Mendes" userId="bb2291e0-f53c-426c-bc7e-e6da289e7b4f" providerId="ADAL" clId="{4E2D14C3-4C81-4449-96AF-2D365022FBEF}" dt="2020-11-30T20:04:13.913" v="2"/>
        <pc:sldMkLst>
          <pc:docMk/>
          <pc:sldMk cId="3902701544" sldId="2611"/>
        </pc:sldMkLst>
      </pc:sldChg>
      <pc:sldChg chg="addSp delSp modSp add ord">
        <pc:chgData name="Maria Tereza Salgueiro Ramalho Mendes" userId="bb2291e0-f53c-426c-bc7e-e6da289e7b4f" providerId="ADAL" clId="{4E2D14C3-4C81-4449-96AF-2D365022FBEF}" dt="2020-11-30T20:57:53.164" v="1704" actId="1076"/>
        <pc:sldMkLst>
          <pc:docMk/>
          <pc:sldMk cId="461259891" sldId="2612"/>
        </pc:sldMkLst>
        <pc:spChg chg="mod">
          <ac:chgData name="Maria Tereza Salgueiro Ramalho Mendes" userId="bb2291e0-f53c-426c-bc7e-e6da289e7b4f" providerId="ADAL" clId="{4E2D14C3-4C81-4449-96AF-2D365022FBEF}" dt="2020-11-30T20:56:37.642" v="1642" actId="114"/>
          <ac:spMkLst>
            <pc:docMk/>
            <pc:sldMk cId="461259891" sldId="2612"/>
            <ac:spMk id="2" creationId="{E4065686-F7E1-4579-8528-CCDA6A8807B3}"/>
          </ac:spMkLst>
        </pc:spChg>
        <pc:spChg chg="del mod">
          <ac:chgData name="Maria Tereza Salgueiro Ramalho Mendes" userId="bb2291e0-f53c-426c-bc7e-e6da289e7b4f" providerId="ADAL" clId="{4E2D14C3-4C81-4449-96AF-2D365022FBEF}" dt="2020-11-30T20:13:54.688" v="840" actId="478"/>
          <ac:spMkLst>
            <pc:docMk/>
            <pc:sldMk cId="461259891" sldId="2612"/>
            <ac:spMk id="11" creationId="{9CC4D179-AB7F-4F94-AD45-E0FEBBDCD657}"/>
          </ac:spMkLst>
        </pc:spChg>
        <pc:spChg chg="mod">
          <ac:chgData name="Maria Tereza Salgueiro Ramalho Mendes" userId="bb2291e0-f53c-426c-bc7e-e6da289e7b4f" providerId="ADAL" clId="{4E2D14C3-4C81-4449-96AF-2D365022FBEF}" dt="2020-11-30T20:15:00.923" v="912" actId="1076"/>
          <ac:spMkLst>
            <pc:docMk/>
            <pc:sldMk cId="461259891" sldId="2612"/>
            <ac:spMk id="34" creationId="{13B98DAC-4356-4A9A-BD8C-4EAF68F258AD}"/>
          </ac:spMkLst>
        </pc:spChg>
        <pc:spChg chg="mod">
          <ac:chgData name="Maria Tereza Salgueiro Ramalho Mendes" userId="bb2291e0-f53c-426c-bc7e-e6da289e7b4f" providerId="ADAL" clId="{4E2D14C3-4C81-4449-96AF-2D365022FBEF}" dt="2020-11-30T20:14:58.132" v="911" actId="1076"/>
          <ac:spMkLst>
            <pc:docMk/>
            <pc:sldMk cId="461259891" sldId="2612"/>
            <ac:spMk id="35" creationId="{1706A8F9-E956-4CAC-BE2F-4C652246BE32}"/>
          </ac:spMkLst>
        </pc:spChg>
        <pc:spChg chg="mod">
          <ac:chgData name="Maria Tereza Salgueiro Ramalho Mendes" userId="bb2291e0-f53c-426c-bc7e-e6da289e7b4f" providerId="ADAL" clId="{4E2D14C3-4C81-4449-96AF-2D365022FBEF}" dt="2020-11-30T20:14:58.132" v="911" actId="1076"/>
          <ac:spMkLst>
            <pc:docMk/>
            <pc:sldMk cId="461259891" sldId="2612"/>
            <ac:spMk id="36" creationId="{72EB498C-A1FD-4F6E-8930-44745C15D023}"/>
          </ac:spMkLst>
        </pc:spChg>
        <pc:spChg chg="mod">
          <ac:chgData name="Maria Tereza Salgueiro Ramalho Mendes" userId="bb2291e0-f53c-426c-bc7e-e6da289e7b4f" providerId="ADAL" clId="{4E2D14C3-4C81-4449-96AF-2D365022FBEF}" dt="2020-11-30T20:14:26.193" v="908" actId="14100"/>
          <ac:spMkLst>
            <pc:docMk/>
            <pc:sldMk cId="461259891" sldId="2612"/>
            <ac:spMk id="38" creationId="{55C5EEAF-63B8-4762-A3EB-9A151742638D}"/>
          </ac:spMkLst>
        </pc:spChg>
        <pc:spChg chg="mod">
          <ac:chgData name="Maria Tereza Salgueiro Ramalho Mendes" userId="bb2291e0-f53c-426c-bc7e-e6da289e7b4f" providerId="ADAL" clId="{4E2D14C3-4C81-4449-96AF-2D365022FBEF}" dt="2020-11-30T20:14:58.132" v="911" actId="1076"/>
          <ac:spMkLst>
            <pc:docMk/>
            <pc:sldMk cId="461259891" sldId="2612"/>
            <ac:spMk id="39" creationId="{1D08D58D-F359-4115-A407-627E88D2DAFC}"/>
          </ac:spMkLst>
        </pc:spChg>
        <pc:spChg chg="mod">
          <ac:chgData name="Maria Tereza Salgueiro Ramalho Mendes" userId="bb2291e0-f53c-426c-bc7e-e6da289e7b4f" providerId="ADAL" clId="{4E2D14C3-4C81-4449-96AF-2D365022FBEF}" dt="2020-11-30T20:14:58.132" v="911" actId="1076"/>
          <ac:spMkLst>
            <pc:docMk/>
            <pc:sldMk cId="461259891" sldId="2612"/>
            <ac:spMk id="40" creationId="{985C443C-6E93-40B0-9B36-4063432CD6F7}"/>
          </ac:spMkLst>
        </pc:spChg>
        <pc:spChg chg="mod">
          <ac:chgData name="Maria Tereza Salgueiro Ramalho Mendes" userId="bb2291e0-f53c-426c-bc7e-e6da289e7b4f" providerId="ADAL" clId="{4E2D14C3-4C81-4449-96AF-2D365022FBEF}" dt="2020-11-30T20:14:58.132" v="911" actId="1076"/>
          <ac:spMkLst>
            <pc:docMk/>
            <pc:sldMk cId="461259891" sldId="2612"/>
            <ac:spMk id="41" creationId="{CA48C484-B757-41E0-AB40-BAAF58746CAF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44" creationId="{0916DC77-9427-4674-9A9D-310202186E45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45" creationId="{4F8DFCB5-9A0B-4259-B060-EB786AC1D63B}"/>
          </ac:spMkLst>
        </pc:spChg>
        <pc:spChg chg="mod">
          <ac:chgData name="Maria Tereza Salgueiro Ramalho Mendes" userId="bb2291e0-f53c-426c-bc7e-e6da289e7b4f" providerId="ADAL" clId="{4E2D14C3-4C81-4449-96AF-2D365022FBEF}" dt="2020-11-30T20:57:37.381" v="1684" actId="1076"/>
          <ac:spMkLst>
            <pc:docMk/>
            <pc:sldMk cId="461259891" sldId="2612"/>
            <ac:spMk id="46" creationId="{346080FC-74B7-4F15-A023-BD28959E5989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47" creationId="{E50CA4DD-FB4C-497A-8EAE-4B19B745691D}"/>
          </ac:spMkLst>
        </pc:spChg>
        <pc:spChg chg="mod">
          <ac:chgData name="Maria Tereza Salgueiro Ramalho Mendes" userId="bb2291e0-f53c-426c-bc7e-e6da289e7b4f" providerId="ADAL" clId="{4E2D14C3-4C81-4449-96AF-2D365022FBEF}" dt="2020-11-30T20:14:29.163" v="909" actId="14100"/>
          <ac:spMkLst>
            <pc:docMk/>
            <pc:sldMk cId="461259891" sldId="2612"/>
            <ac:spMk id="48" creationId="{21854D85-EEBA-4720-BE8D-0EC6965C3A63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49" creationId="{FDCC8433-E6B4-4863-AA32-C074A7266864}"/>
          </ac:spMkLst>
        </pc:spChg>
        <pc:spChg chg="add mod">
          <ac:chgData name="Maria Tereza Salgueiro Ramalho Mendes" userId="bb2291e0-f53c-426c-bc7e-e6da289e7b4f" providerId="ADAL" clId="{4E2D14C3-4C81-4449-96AF-2D365022FBEF}" dt="2020-11-30T20:47:32.914" v="1511" actId="20577"/>
          <ac:spMkLst>
            <pc:docMk/>
            <pc:sldMk cId="461259891" sldId="2612"/>
            <ac:spMk id="50" creationId="{CD4DC9E2-0338-4FAA-97A7-D7F4EED9D0AD}"/>
          </ac:spMkLst>
        </pc:spChg>
        <pc:spChg chg="add del mod">
          <ac:chgData name="Maria Tereza Salgueiro Ramalho Mendes" userId="bb2291e0-f53c-426c-bc7e-e6da289e7b4f" providerId="ADAL" clId="{4E2D14C3-4C81-4449-96AF-2D365022FBEF}" dt="2020-11-30T20:48:21.738" v="1512" actId="478"/>
          <ac:spMkLst>
            <pc:docMk/>
            <pc:sldMk cId="461259891" sldId="2612"/>
            <ac:spMk id="52" creationId="{73A113E8-C832-4C69-B13F-61391F1C2815}"/>
          </ac:spMkLst>
        </pc:spChg>
        <pc:spChg chg="add del mod">
          <ac:chgData name="Maria Tereza Salgueiro Ramalho Mendes" userId="bb2291e0-f53c-426c-bc7e-e6da289e7b4f" providerId="ADAL" clId="{4E2D14C3-4C81-4449-96AF-2D365022FBEF}" dt="2020-11-30T20:48:21.738" v="1512" actId="478"/>
          <ac:spMkLst>
            <pc:docMk/>
            <pc:sldMk cId="461259891" sldId="2612"/>
            <ac:spMk id="53" creationId="{68E7179D-481A-4CCD-B882-999B0229FDB3}"/>
          </ac:spMkLst>
        </pc:spChg>
        <pc:spChg chg="add mod">
          <ac:chgData name="Maria Tereza Salgueiro Ramalho Mendes" userId="bb2291e0-f53c-426c-bc7e-e6da289e7b4f" providerId="ADAL" clId="{4E2D14C3-4C81-4449-96AF-2D365022FBEF}" dt="2020-11-30T20:57:49.986" v="1703" actId="20577"/>
          <ac:spMkLst>
            <pc:docMk/>
            <pc:sldMk cId="461259891" sldId="2612"/>
            <ac:spMk id="54" creationId="{7E4D99E5-39B1-40C8-A4A9-4FECAE45CD77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60" creationId="{1A4547FC-695A-447B-A80C-5272D1A4D4F7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61" creationId="{988C5432-471F-412D-8D75-3DD22FEE560D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79" creationId="{30100D6E-9EFD-46FA-9FDE-DE43880A7177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0" creationId="{BC001C0D-14E5-420B-B60E-C35D5DB8980F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1" creationId="{EFFC8FC4-7B85-4CA2-BF90-7A3524D123C8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2" creationId="{3AB715CC-1222-49E0-A489-4A9B141DFF70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3" creationId="{BA687A2C-0F4C-4FBB-93F2-C70609D1A357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4" creationId="{874A99FE-713F-441A-9B85-5B13787AFD29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5" creationId="{DADFEEF5-7E11-49B3-ABCA-55FFFAAB8F72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86" creationId="{11C986D7-FA9E-45A4-9401-CDBEFA971933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90" creationId="{19DB8CFC-9D4F-419D-B59A-5ABAA4967664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91" creationId="{F46735A8-5774-4D16-8F18-9450E1A92FE6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92" creationId="{95814B66-6E1C-41AA-A649-BC0416002D10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93" creationId="{D321E8F1-34D4-4723-AC87-59B273D67F48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07" creationId="{784CF01E-EEAF-46FE-95E4-C2AE0FD3F2AE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08" creationId="{1C177C8D-9171-4340-ABBB-40FFEBEF25A2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09" creationId="{25046BA0-4C83-4F2E-B8A6-E86C0E183A69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20" creationId="{E3C2D6D0-3469-4D29-93B8-01E83E67129A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21" creationId="{A8934BDF-07E0-4B5A-9728-F03F3F041F54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22" creationId="{93869E89-AE3B-471F-BFBF-1A543A8B896D}"/>
          </ac:spMkLst>
        </pc:spChg>
        <pc:spChg chg="del">
          <ac:chgData name="Maria Tereza Salgueiro Ramalho Mendes" userId="bb2291e0-f53c-426c-bc7e-e6da289e7b4f" providerId="ADAL" clId="{4E2D14C3-4C81-4449-96AF-2D365022FBEF}" dt="2020-11-30T20:13:43.719" v="829" actId="478"/>
          <ac:spMkLst>
            <pc:docMk/>
            <pc:sldMk cId="461259891" sldId="2612"/>
            <ac:spMk id="123" creationId="{AB24565F-5051-4ADD-8F9F-49BEF42A45D7}"/>
          </ac:spMkLst>
        </pc:spChg>
        <pc:graphicFrameChg chg="add mod modGraphic">
          <ac:chgData name="Maria Tereza Salgueiro Ramalho Mendes" userId="bb2291e0-f53c-426c-bc7e-e6da289e7b4f" providerId="ADAL" clId="{4E2D14C3-4C81-4449-96AF-2D365022FBEF}" dt="2020-11-30T20:57:53.164" v="1704" actId="1076"/>
          <ac:graphicFrameMkLst>
            <pc:docMk/>
            <pc:sldMk cId="461259891" sldId="2612"/>
            <ac:graphicFrameMk id="51" creationId="{73AF6B9E-17FF-4363-BDE7-369DD67BBDFE}"/>
          </ac:graphicFrameMkLst>
        </pc:graphicFrameChg>
        <pc:cxnChg chg="del">
          <ac:chgData name="Maria Tereza Salgueiro Ramalho Mendes" userId="bb2291e0-f53c-426c-bc7e-e6da289e7b4f" providerId="ADAL" clId="{4E2D14C3-4C81-4449-96AF-2D365022FBEF}" dt="2020-11-30T20:13:43.719" v="829" actId="478"/>
          <ac:cxnSpMkLst>
            <pc:docMk/>
            <pc:sldMk cId="461259891" sldId="2612"/>
            <ac:cxnSpMk id="42" creationId="{4A856AD9-FCA7-474E-A35A-A74F468AEE88}"/>
          </ac:cxnSpMkLst>
        </pc:cxnChg>
        <pc:cxnChg chg="del">
          <ac:chgData name="Maria Tereza Salgueiro Ramalho Mendes" userId="bb2291e0-f53c-426c-bc7e-e6da289e7b4f" providerId="ADAL" clId="{4E2D14C3-4C81-4449-96AF-2D365022FBEF}" dt="2020-11-30T20:13:43.719" v="829" actId="478"/>
          <ac:cxnSpMkLst>
            <pc:docMk/>
            <pc:sldMk cId="461259891" sldId="2612"/>
            <ac:cxnSpMk id="43" creationId="{91ACA5D6-D584-4B1C-9E79-75F3F1F70918}"/>
          </ac:cxnSpMkLst>
        </pc:cxnChg>
      </pc:sldChg>
      <pc:sldChg chg="add del">
        <pc:chgData name="Maria Tereza Salgueiro Ramalho Mendes" userId="bb2291e0-f53c-426c-bc7e-e6da289e7b4f" providerId="ADAL" clId="{4E2D14C3-4C81-4449-96AF-2D365022FBEF}" dt="2020-11-30T20:04:19.584" v="4" actId="2696"/>
        <pc:sldMkLst>
          <pc:docMk/>
          <pc:sldMk cId="3105473824" sldId="2612"/>
        </pc:sldMkLst>
      </pc:sldChg>
      <pc:sldChg chg="add">
        <pc:chgData name="Maria Tereza Salgueiro Ramalho Mendes" userId="bb2291e0-f53c-426c-bc7e-e6da289e7b4f" providerId="ADAL" clId="{4E2D14C3-4C81-4449-96AF-2D365022FBEF}" dt="2020-11-30T20:20:25.879" v="987"/>
        <pc:sldMkLst>
          <pc:docMk/>
          <pc:sldMk cId="1666035249" sldId="8641"/>
        </pc:sldMkLst>
      </pc:sldChg>
      <pc:sldChg chg="add">
        <pc:chgData name="Maria Tereza Salgueiro Ramalho Mendes" userId="bb2291e0-f53c-426c-bc7e-e6da289e7b4f" providerId="ADAL" clId="{4E2D14C3-4C81-4449-96AF-2D365022FBEF}" dt="2020-11-30T20:28:11.295" v="1102"/>
        <pc:sldMkLst>
          <pc:docMk/>
          <pc:sldMk cId="451747285" sldId="8780"/>
        </pc:sldMkLst>
      </pc:sldChg>
      <pc:sldChg chg="add">
        <pc:chgData name="Maria Tereza Salgueiro Ramalho Mendes" userId="bb2291e0-f53c-426c-bc7e-e6da289e7b4f" providerId="ADAL" clId="{4E2D14C3-4C81-4449-96AF-2D365022FBEF}" dt="2020-11-30T20:25:33.923" v="1101"/>
        <pc:sldMkLst>
          <pc:docMk/>
          <pc:sldMk cId="1822077781" sldId="8804"/>
        </pc:sldMkLst>
      </pc:sldChg>
      <pc:sldChg chg="add ord">
        <pc:chgData name="Maria Tereza Salgueiro Ramalho Mendes" userId="bb2291e0-f53c-426c-bc7e-e6da289e7b4f" providerId="ADAL" clId="{4E2D14C3-4C81-4449-96AF-2D365022FBEF}" dt="2020-11-30T20:43:42.539" v="1105"/>
        <pc:sldMkLst>
          <pc:docMk/>
          <pc:sldMk cId="1922217031" sldId="8805"/>
        </pc:sldMkLst>
      </pc:sldChg>
    </pc:docChg>
  </pc:docChgLst>
  <pc:docChgLst>
    <pc:chgData name="Tereza Mendes" userId="bb2291e0-f53c-426c-bc7e-e6da289e7b4f" providerId="ADAL" clId="{77B9A0F8-9A72-497F-84B0-B4507D7F35A7}"/>
    <pc:docChg chg="undo custSel addSld delSld modSld sldOrd modSection">
      <pc:chgData name="Tereza Mendes" userId="bb2291e0-f53c-426c-bc7e-e6da289e7b4f" providerId="ADAL" clId="{77B9A0F8-9A72-497F-84B0-B4507D7F35A7}" dt="2021-01-13T20:17:16.099" v="1759" actId="1038"/>
      <pc:docMkLst>
        <pc:docMk/>
      </pc:docMkLst>
      <pc:sldChg chg="del">
        <pc:chgData name="Tereza Mendes" userId="bb2291e0-f53c-426c-bc7e-e6da289e7b4f" providerId="ADAL" clId="{77B9A0F8-9A72-497F-84B0-B4507D7F35A7}" dt="2021-01-13T18:52:35.394" v="809" actId="2696"/>
        <pc:sldMkLst>
          <pc:docMk/>
          <pc:sldMk cId="1969208108" sldId="2603"/>
        </pc:sldMkLst>
      </pc:sldChg>
      <pc:sldChg chg="addSp delSp modSp">
        <pc:chgData name="Tereza Mendes" userId="bb2291e0-f53c-426c-bc7e-e6da289e7b4f" providerId="ADAL" clId="{77B9A0F8-9A72-497F-84B0-B4507D7F35A7}" dt="2021-01-13T18:46:37.535" v="744" actId="20577"/>
        <pc:sldMkLst>
          <pc:docMk/>
          <pc:sldMk cId="461259891" sldId="2612"/>
        </pc:sldMkLst>
        <pc:graphicFrameChg chg="add del">
          <ac:chgData name="Tereza Mendes" userId="bb2291e0-f53c-426c-bc7e-e6da289e7b4f" providerId="ADAL" clId="{77B9A0F8-9A72-497F-84B0-B4507D7F35A7}" dt="2021-01-13T18:45:43.087" v="710"/>
          <ac:graphicFrameMkLst>
            <pc:docMk/>
            <pc:sldMk cId="461259891" sldId="2612"/>
            <ac:graphicFrameMk id="27" creationId="{983D8C63-3F80-4856-9CA2-DCF25A2CE40A}"/>
          </ac:graphicFrameMkLst>
        </pc:graphicFrameChg>
        <pc:graphicFrameChg chg="add mod modGraphic">
          <ac:chgData name="Tereza Mendes" userId="bb2291e0-f53c-426c-bc7e-e6da289e7b4f" providerId="ADAL" clId="{77B9A0F8-9A72-497F-84B0-B4507D7F35A7}" dt="2021-01-13T18:46:37.535" v="744" actId="20577"/>
          <ac:graphicFrameMkLst>
            <pc:docMk/>
            <pc:sldMk cId="461259891" sldId="2612"/>
            <ac:graphicFrameMk id="28" creationId="{8CA200AC-7229-4379-A5BE-8D5A9EC698CC}"/>
          </ac:graphicFrameMkLst>
        </pc:graphicFrameChg>
        <pc:graphicFrameChg chg="del mod modGraphic">
          <ac:chgData name="Tereza Mendes" userId="bb2291e0-f53c-426c-bc7e-e6da289e7b4f" providerId="ADAL" clId="{77B9A0F8-9A72-497F-84B0-B4507D7F35A7}" dt="2021-01-13T18:46:06.568" v="716" actId="478"/>
          <ac:graphicFrameMkLst>
            <pc:docMk/>
            <pc:sldMk cId="461259891" sldId="2612"/>
            <ac:graphicFrameMk id="51" creationId="{73AF6B9E-17FF-4363-BDE7-369DD67BBDFE}"/>
          </ac:graphicFrameMkLst>
        </pc:graphicFrameChg>
      </pc:sldChg>
      <pc:sldChg chg="del">
        <pc:chgData name="Tereza Mendes" userId="bb2291e0-f53c-426c-bc7e-e6da289e7b4f" providerId="ADAL" clId="{77B9A0F8-9A72-497F-84B0-B4507D7F35A7}" dt="2021-01-13T18:52:29.560" v="808" actId="2696"/>
        <pc:sldMkLst>
          <pc:docMk/>
          <pc:sldMk cId="1009807059" sldId="8806"/>
        </pc:sldMkLst>
      </pc:sldChg>
      <pc:sldChg chg="addSp delSp modSp">
        <pc:chgData name="Tereza Mendes" userId="bb2291e0-f53c-426c-bc7e-e6da289e7b4f" providerId="ADAL" clId="{77B9A0F8-9A72-497F-84B0-B4507D7F35A7}" dt="2021-01-13T18:50:36.373" v="786" actId="20577"/>
        <pc:sldMkLst>
          <pc:docMk/>
          <pc:sldMk cId="2220034289" sldId="8807"/>
        </pc:sldMkLst>
        <pc:graphicFrameChg chg="add mod modGraphic">
          <ac:chgData name="Tereza Mendes" userId="bb2291e0-f53c-426c-bc7e-e6da289e7b4f" providerId="ADAL" clId="{77B9A0F8-9A72-497F-84B0-B4507D7F35A7}" dt="2021-01-13T18:50:36.373" v="786" actId="20577"/>
          <ac:graphicFrameMkLst>
            <pc:docMk/>
            <pc:sldMk cId="2220034289" sldId="8807"/>
            <ac:graphicFrameMk id="28" creationId="{796C593F-646E-48F0-8841-A1957FA3689A}"/>
          </ac:graphicFrameMkLst>
        </pc:graphicFrameChg>
        <pc:graphicFrameChg chg="del mod">
          <ac:chgData name="Tereza Mendes" userId="bb2291e0-f53c-426c-bc7e-e6da289e7b4f" providerId="ADAL" clId="{77B9A0F8-9A72-497F-84B0-B4507D7F35A7}" dt="2021-01-13T18:49:41.057" v="760" actId="478"/>
          <ac:graphicFrameMkLst>
            <pc:docMk/>
            <pc:sldMk cId="2220034289" sldId="8807"/>
            <ac:graphicFrameMk id="51" creationId="{73AF6B9E-17FF-4363-BDE7-369DD67BBDFE}"/>
          </ac:graphicFrameMkLst>
        </pc:graphicFrameChg>
      </pc:sldChg>
      <pc:sldChg chg="modSp">
        <pc:chgData name="Tereza Mendes" userId="bb2291e0-f53c-426c-bc7e-e6da289e7b4f" providerId="ADAL" clId="{77B9A0F8-9A72-497F-84B0-B4507D7F35A7}" dt="2021-01-13T18:45:13.151" v="704" actId="14100"/>
        <pc:sldMkLst>
          <pc:docMk/>
          <pc:sldMk cId="720035197" sldId="8808"/>
        </pc:sldMkLst>
        <pc:graphicFrameChg chg="mod modGraphic">
          <ac:chgData name="Tereza Mendes" userId="bb2291e0-f53c-426c-bc7e-e6da289e7b4f" providerId="ADAL" clId="{77B9A0F8-9A72-497F-84B0-B4507D7F35A7}" dt="2021-01-13T18:45:13.151" v="704" actId="14100"/>
          <ac:graphicFrameMkLst>
            <pc:docMk/>
            <pc:sldMk cId="720035197" sldId="8808"/>
            <ac:graphicFrameMk id="51" creationId="{73AF6B9E-17FF-4363-BDE7-369DD67BBDFE}"/>
          </ac:graphicFrameMkLst>
        </pc:graphicFrameChg>
      </pc:sldChg>
      <pc:sldChg chg="modSp ord modTransition">
        <pc:chgData name="Tereza Mendes" userId="bb2291e0-f53c-426c-bc7e-e6da289e7b4f" providerId="ADAL" clId="{77B9A0F8-9A72-497F-84B0-B4507D7F35A7}" dt="2021-01-13T18:48:59.149" v="757"/>
        <pc:sldMkLst>
          <pc:docMk/>
          <pc:sldMk cId="4150128491" sldId="8809"/>
        </pc:sldMkLst>
        <pc:graphicFrameChg chg="mod modGraphic">
          <ac:chgData name="Tereza Mendes" userId="bb2291e0-f53c-426c-bc7e-e6da289e7b4f" providerId="ADAL" clId="{77B9A0F8-9A72-497F-84B0-B4507D7F35A7}" dt="2021-01-13T14:46:45.713" v="182" actId="207"/>
          <ac:graphicFrameMkLst>
            <pc:docMk/>
            <pc:sldMk cId="4150128491" sldId="8809"/>
            <ac:graphicFrameMk id="7" creationId="{16CB7E22-3BAD-4002-B248-E208A823C213}"/>
          </ac:graphicFrameMkLst>
        </pc:graphicFrameChg>
      </pc:sldChg>
      <pc:sldChg chg="addSp delSp modSp ord modTransition">
        <pc:chgData name="Tereza Mendes" userId="bb2291e0-f53c-426c-bc7e-e6da289e7b4f" providerId="ADAL" clId="{77B9A0F8-9A72-497F-84B0-B4507D7F35A7}" dt="2021-01-13T18:49:10.480" v="759"/>
        <pc:sldMkLst>
          <pc:docMk/>
          <pc:sldMk cId="3578439707" sldId="8812"/>
        </pc:sldMkLst>
        <pc:spChg chg="mod">
          <ac:chgData name="Tereza Mendes" userId="bb2291e0-f53c-426c-bc7e-e6da289e7b4f" providerId="ADAL" clId="{77B9A0F8-9A72-497F-84B0-B4507D7F35A7}" dt="2021-01-13T13:13:52.947" v="165" actId="20577"/>
          <ac:spMkLst>
            <pc:docMk/>
            <pc:sldMk cId="3578439707" sldId="8812"/>
            <ac:spMk id="27" creationId="{35F7D3E9-9C7D-40F6-8BAC-4FDFF2A8BCF8}"/>
          </ac:spMkLst>
        </pc:spChg>
        <pc:spChg chg="add del mod">
          <ac:chgData name="Tereza Mendes" userId="bb2291e0-f53c-426c-bc7e-e6da289e7b4f" providerId="ADAL" clId="{77B9A0F8-9A72-497F-84B0-B4507D7F35A7}" dt="2021-01-13T13:13:09.893" v="61" actId="478"/>
          <ac:spMkLst>
            <pc:docMk/>
            <pc:sldMk cId="3578439707" sldId="8812"/>
            <ac:spMk id="72" creationId="{A04CA2D4-DA6E-4ED4-8208-C9B8C4E67AD2}"/>
          </ac:spMkLst>
        </pc:spChg>
        <pc:graphicFrameChg chg="del">
          <ac:chgData name="Tereza Mendes" userId="bb2291e0-f53c-426c-bc7e-e6da289e7b4f" providerId="ADAL" clId="{77B9A0F8-9A72-497F-84B0-B4507D7F35A7}" dt="2021-01-13T15:09:58.707" v="185" actId="478"/>
          <ac:graphicFrameMkLst>
            <pc:docMk/>
            <pc:sldMk cId="3578439707" sldId="8812"/>
            <ac:graphicFrameMk id="60" creationId="{95F74F7E-C162-4B94-9980-BA41F9700C4C}"/>
          </ac:graphicFrameMkLst>
        </pc:graphicFrameChg>
        <pc:graphicFrameChg chg="add mod modGraphic">
          <ac:chgData name="Tereza Mendes" userId="bb2291e0-f53c-426c-bc7e-e6da289e7b4f" providerId="ADAL" clId="{77B9A0F8-9A72-497F-84B0-B4507D7F35A7}" dt="2021-01-13T15:10:02.052" v="187" actId="14100"/>
          <ac:graphicFrameMkLst>
            <pc:docMk/>
            <pc:sldMk cId="3578439707" sldId="8812"/>
            <ac:graphicFrameMk id="84" creationId="{F388BF62-1A39-4313-AF9C-8FA9A387095B}"/>
          </ac:graphicFrameMkLst>
        </pc:graphicFrameChg>
      </pc:sldChg>
      <pc:sldChg chg="delSp modSp ord">
        <pc:chgData name="Tereza Mendes" userId="bb2291e0-f53c-426c-bc7e-e6da289e7b4f" providerId="ADAL" clId="{77B9A0F8-9A72-497F-84B0-B4507D7F35A7}" dt="2021-01-13T20:16:42.158" v="1752" actId="20577"/>
        <pc:sldMkLst>
          <pc:docMk/>
          <pc:sldMk cId="1217463327" sldId="8813"/>
        </pc:sldMkLst>
        <pc:spChg chg="mod">
          <ac:chgData name="Tereza Mendes" userId="bb2291e0-f53c-426c-bc7e-e6da289e7b4f" providerId="ADAL" clId="{77B9A0F8-9A72-497F-84B0-B4507D7F35A7}" dt="2021-01-13T19:16:36.545" v="986" actId="20577"/>
          <ac:spMkLst>
            <pc:docMk/>
            <pc:sldMk cId="1217463327" sldId="8813"/>
            <ac:spMk id="27" creationId="{35F7D3E9-9C7D-40F6-8BAC-4FDFF2A8BCF8}"/>
          </ac:spMkLst>
        </pc:spChg>
        <pc:spChg chg="mod">
          <ac:chgData name="Tereza Mendes" userId="bb2291e0-f53c-426c-bc7e-e6da289e7b4f" providerId="ADAL" clId="{77B9A0F8-9A72-497F-84B0-B4507D7F35A7}" dt="2021-01-13T12:40:21.830" v="50" actId="1035"/>
          <ac:spMkLst>
            <pc:docMk/>
            <pc:sldMk cId="1217463327" sldId="8813"/>
            <ac:spMk id="44" creationId="{393ACC8F-9FD8-433D-9C7B-2ED25C59A8D5}"/>
          </ac:spMkLst>
        </pc:spChg>
        <pc:spChg chg="mod">
          <ac:chgData name="Tereza Mendes" userId="bb2291e0-f53c-426c-bc7e-e6da289e7b4f" providerId="ADAL" clId="{77B9A0F8-9A72-497F-84B0-B4507D7F35A7}" dt="2021-01-13T19:15:09.788" v="970" actId="20577"/>
          <ac:spMkLst>
            <pc:docMk/>
            <pc:sldMk cId="1217463327" sldId="8813"/>
            <ac:spMk id="62" creationId="{0204BD64-83DA-49F6-84F7-1B1E58ED01E2}"/>
          </ac:spMkLst>
        </pc:spChg>
        <pc:spChg chg="mod">
          <ac:chgData name="Tereza Mendes" userId="bb2291e0-f53c-426c-bc7e-e6da289e7b4f" providerId="ADAL" clId="{77B9A0F8-9A72-497F-84B0-B4507D7F35A7}" dt="2021-01-13T19:16:05.559" v="982" actId="14100"/>
          <ac:spMkLst>
            <pc:docMk/>
            <pc:sldMk cId="1217463327" sldId="8813"/>
            <ac:spMk id="65" creationId="{356D67B7-4175-41BD-8F6E-ADDAD3AF47ED}"/>
          </ac:spMkLst>
        </pc:spChg>
        <pc:spChg chg="mod">
          <ac:chgData name="Tereza Mendes" userId="bb2291e0-f53c-426c-bc7e-e6da289e7b4f" providerId="ADAL" clId="{77B9A0F8-9A72-497F-84B0-B4507D7F35A7}" dt="2021-01-13T12:42:24.303" v="55" actId="14100"/>
          <ac:spMkLst>
            <pc:docMk/>
            <pc:sldMk cId="1217463327" sldId="8813"/>
            <ac:spMk id="66" creationId="{0193F79A-66BB-4BAB-AC23-13A19CDCF3BC}"/>
          </ac:spMkLst>
        </pc:spChg>
        <pc:spChg chg="mod">
          <ac:chgData name="Tereza Mendes" userId="bb2291e0-f53c-426c-bc7e-e6da289e7b4f" providerId="ADAL" clId="{77B9A0F8-9A72-497F-84B0-B4507D7F35A7}" dt="2021-01-13T12:42:31.209" v="56" actId="14100"/>
          <ac:spMkLst>
            <pc:docMk/>
            <pc:sldMk cId="1217463327" sldId="8813"/>
            <ac:spMk id="67" creationId="{7E3071DE-A2D9-480B-91E3-8C46F616E649}"/>
          </ac:spMkLst>
        </pc:spChg>
        <pc:spChg chg="mod">
          <ac:chgData name="Tereza Mendes" userId="bb2291e0-f53c-426c-bc7e-e6da289e7b4f" providerId="ADAL" clId="{77B9A0F8-9A72-497F-84B0-B4507D7F35A7}" dt="2021-01-13T12:42:36.255" v="57" actId="14100"/>
          <ac:spMkLst>
            <pc:docMk/>
            <pc:sldMk cId="1217463327" sldId="8813"/>
            <ac:spMk id="68" creationId="{0C2CF502-3061-4A53-94C0-7AA3BD3356F9}"/>
          </ac:spMkLst>
        </pc:spChg>
        <pc:spChg chg="mod">
          <ac:chgData name="Tereza Mendes" userId="bb2291e0-f53c-426c-bc7e-e6da289e7b4f" providerId="ADAL" clId="{77B9A0F8-9A72-497F-84B0-B4507D7F35A7}" dt="2021-01-13T12:42:24.303" v="55" actId="14100"/>
          <ac:spMkLst>
            <pc:docMk/>
            <pc:sldMk cId="1217463327" sldId="8813"/>
            <ac:spMk id="69" creationId="{B9FE4F48-8A3B-47DB-A060-DACAB634292B}"/>
          </ac:spMkLst>
        </pc:spChg>
        <pc:spChg chg="del mod">
          <ac:chgData name="Tereza Mendes" userId="bb2291e0-f53c-426c-bc7e-e6da289e7b4f" providerId="ADAL" clId="{77B9A0F8-9A72-497F-84B0-B4507D7F35A7}" dt="2021-01-13T18:40:48.683" v="532" actId="478"/>
          <ac:spMkLst>
            <pc:docMk/>
            <pc:sldMk cId="1217463327" sldId="8813"/>
            <ac:spMk id="70" creationId="{9FB8BE57-8CE1-404F-A11D-6027FDE68ECD}"/>
          </ac:spMkLst>
        </pc:spChg>
        <pc:spChg chg="mod">
          <ac:chgData name="Tereza Mendes" userId="bb2291e0-f53c-426c-bc7e-e6da289e7b4f" providerId="ADAL" clId="{77B9A0F8-9A72-497F-84B0-B4507D7F35A7}" dt="2021-01-13T19:15:52.685" v="981" actId="20577"/>
          <ac:spMkLst>
            <pc:docMk/>
            <pc:sldMk cId="1217463327" sldId="8813"/>
            <ac:spMk id="81" creationId="{8922C9D7-ADE3-4E9D-817B-D9EC7A9FCE64}"/>
          </ac:spMkLst>
        </pc:spChg>
        <pc:spChg chg="mod">
          <ac:chgData name="Tereza Mendes" userId="bb2291e0-f53c-426c-bc7e-e6da289e7b4f" providerId="ADAL" clId="{77B9A0F8-9A72-497F-84B0-B4507D7F35A7}" dt="2021-01-13T19:15:20.631" v="972" actId="20577"/>
          <ac:spMkLst>
            <pc:docMk/>
            <pc:sldMk cId="1217463327" sldId="8813"/>
            <ac:spMk id="82" creationId="{3188502E-D3A1-4619-8520-DBED94235407}"/>
          </ac:spMkLst>
        </pc:spChg>
        <pc:spChg chg="del mod">
          <ac:chgData name="Tereza Mendes" userId="bb2291e0-f53c-426c-bc7e-e6da289e7b4f" providerId="ADAL" clId="{77B9A0F8-9A72-497F-84B0-B4507D7F35A7}" dt="2021-01-13T18:40:48.683" v="532" actId="478"/>
          <ac:spMkLst>
            <pc:docMk/>
            <pc:sldMk cId="1217463327" sldId="8813"/>
            <ac:spMk id="83" creationId="{1C01FE5B-EBEC-441E-ABA9-79B777AA7D60}"/>
          </ac:spMkLst>
        </pc:spChg>
        <pc:spChg chg="mod">
          <ac:chgData name="Tereza Mendes" userId="bb2291e0-f53c-426c-bc7e-e6da289e7b4f" providerId="ADAL" clId="{77B9A0F8-9A72-497F-84B0-B4507D7F35A7}" dt="2021-01-13T20:16:04.053" v="1750" actId="20577"/>
          <ac:spMkLst>
            <pc:docMk/>
            <pc:sldMk cId="1217463327" sldId="8813"/>
            <ac:spMk id="107" creationId="{F6305DFE-4472-4826-9F91-C895B992BE6B}"/>
          </ac:spMkLst>
        </pc:spChg>
        <pc:spChg chg="mod">
          <ac:chgData name="Tereza Mendes" userId="bb2291e0-f53c-426c-bc7e-e6da289e7b4f" providerId="ADAL" clId="{77B9A0F8-9A72-497F-84B0-B4507D7F35A7}" dt="2021-01-13T20:15:20.026" v="1748" actId="20577"/>
          <ac:spMkLst>
            <pc:docMk/>
            <pc:sldMk cId="1217463327" sldId="8813"/>
            <ac:spMk id="111" creationId="{A3F6A612-B537-436A-8D4E-962BE808C63B}"/>
          </ac:spMkLst>
        </pc:spChg>
        <pc:spChg chg="mod">
          <ac:chgData name="Tereza Mendes" userId="bb2291e0-f53c-426c-bc7e-e6da289e7b4f" providerId="ADAL" clId="{77B9A0F8-9A72-497F-84B0-B4507D7F35A7}" dt="2021-01-13T20:16:42.158" v="1752" actId="20577"/>
          <ac:spMkLst>
            <pc:docMk/>
            <pc:sldMk cId="1217463327" sldId="8813"/>
            <ac:spMk id="115" creationId="{D05B6B35-A1EE-4F44-B0CD-6509C79B7E03}"/>
          </ac:spMkLst>
        </pc:spChg>
        <pc:grpChg chg="mod">
          <ac:chgData name="Tereza Mendes" userId="bb2291e0-f53c-426c-bc7e-e6da289e7b4f" providerId="ADAL" clId="{77B9A0F8-9A72-497F-84B0-B4507D7F35A7}" dt="2021-01-13T19:16:43.815" v="996" actId="1038"/>
          <ac:grpSpMkLst>
            <pc:docMk/>
            <pc:sldMk cId="1217463327" sldId="8813"/>
            <ac:grpSpMk id="104" creationId="{7B83C854-B234-4A4F-9830-B5BFA0A49946}"/>
          </ac:grpSpMkLst>
        </pc:grpChg>
        <pc:grpChg chg="mod">
          <ac:chgData name="Tereza Mendes" userId="bb2291e0-f53c-426c-bc7e-e6da289e7b4f" providerId="ADAL" clId="{77B9A0F8-9A72-497F-84B0-B4507D7F35A7}" dt="2021-01-13T19:16:43.815" v="996" actId="1038"/>
          <ac:grpSpMkLst>
            <pc:docMk/>
            <pc:sldMk cId="1217463327" sldId="8813"/>
            <ac:grpSpMk id="108" creationId="{1FF0DCED-C5DE-4FA3-AC29-7D2032D00302}"/>
          </ac:grpSpMkLst>
        </pc:grpChg>
        <pc:grpChg chg="mod">
          <ac:chgData name="Tereza Mendes" userId="bb2291e0-f53c-426c-bc7e-e6da289e7b4f" providerId="ADAL" clId="{77B9A0F8-9A72-497F-84B0-B4507D7F35A7}" dt="2021-01-13T19:16:43.815" v="996" actId="1038"/>
          <ac:grpSpMkLst>
            <pc:docMk/>
            <pc:sldMk cId="1217463327" sldId="8813"/>
            <ac:grpSpMk id="112" creationId="{08E7BB5C-3773-46EE-BD6F-7BA57D9A54C9}"/>
          </ac:grpSpMkLst>
        </pc:grpChg>
        <pc:graphicFrameChg chg="mod modGraphic">
          <ac:chgData name="Tereza Mendes" userId="bb2291e0-f53c-426c-bc7e-e6da289e7b4f" providerId="ADAL" clId="{77B9A0F8-9A72-497F-84B0-B4507D7F35A7}" dt="2021-01-13T19:01:58.003" v="961" actId="20577"/>
          <ac:graphicFrameMkLst>
            <pc:docMk/>
            <pc:sldMk cId="1217463327" sldId="8813"/>
            <ac:graphicFrameMk id="72" creationId="{8873D12B-D705-4978-8DEF-54E51B6AC481}"/>
          </ac:graphicFrameMkLst>
        </pc:graphicFrameChg>
      </pc:sldChg>
      <pc:sldChg chg="addSp delSp modSp ord">
        <pc:chgData name="Tereza Mendes" userId="bb2291e0-f53c-426c-bc7e-e6da289e7b4f" providerId="ADAL" clId="{77B9A0F8-9A72-497F-84B0-B4507D7F35A7}" dt="2021-01-13T18:52:23.883" v="807"/>
        <pc:sldMkLst>
          <pc:docMk/>
          <pc:sldMk cId="2902032332" sldId="8814"/>
        </pc:sldMkLst>
        <pc:graphicFrameChg chg="add mod">
          <ac:chgData name="Tereza Mendes" userId="bb2291e0-f53c-426c-bc7e-e6da289e7b4f" providerId="ADAL" clId="{77B9A0F8-9A72-497F-84B0-B4507D7F35A7}" dt="2021-01-13T18:46:57.638" v="747"/>
          <ac:graphicFrameMkLst>
            <pc:docMk/>
            <pc:sldMk cId="2902032332" sldId="8814"/>
            <ac:graphicFrameMk id="27" creationId="{E7CE7F6E-1129-499B-875B-414FF316FD3D}"/>
          </ac:graphicFrameMkLst>
        </pc:graphicFrameChg>
        <pc:graphicFrameChg chg="del mod modGraphic">
          <ac:chgData name="Tereza Mendes" userId="bb2291e0-f53c-426c-bc7e-e6da289e7b4f" providerId="ADAL" clId="{77B9A0F8-9A72-497F-84B0-B4507D7F35A7}" dt="2021-01-13T18:46:59.952" v="748" actId="478"/>
          <ac:graphicFrameMkLst>
            <pc:docMk/>
            <pc:sldMk cId="2902032332" sldId="8814"/>
            <ac:graphicFrameMk id="51" creationId="{73AF6B9E-17FF-4363-BDE7-369DD67BBDFE}"/>
          </ac:graphicFrameMkLst>
        </pc:graphicFrameChg>
      </pc:sldChg>
      <pc:sldChg chg="addSp delSp modSp">
        <pc:chgData name="Tereza Mendes" userId="bb2291e0-f53c-426c-bc7e-e6da289e7b4f" providerId="ADAL" clId="{77B9A0F8-9A72-497F-84B0-B4507D7F35A7}" dt="2021-01-13T18:53:06.155" v="831" actId="20577"/>
        <pc:sldMkLst>
          <pc:docMk/>
          <pc:sldMk cId="4118331896" sldId="8815"/>
        </pc:sldMkLst>
        <pc:graphicFrameChg chg="del mod">
          <ac:chgData name="Tereza Mendes" userId="bb2291e0-f53c-426c-bc7e-e6da289e7b4f" providerId="ADAL" clId="{77B9A0F8-9A72-497F-84B0-B4507D7F35A7}" dt="2021-01-13T18:51:04.543" v="802" actId="478"/>
          <ac:graphicFrameMkLst>
            <pc:docMk/>
            <pc:sldMk cId="4118331896" sldId="8815"/>
            <ac:graphicFrameMk id="28" creationId="{978F8D5F-6F43-4D63-90B6-1E68EDD61F0B}"/>
          </ac:graphicFrameMkLst>
        </pc:graphicFrameChg>
        <pc:graphicFrameChg chg="add mod modGraphic">
          <ac:chgData name="Tereza Mendes" userId="bb2291e0-f53c-426c-bc7e-e6da289e7b4f" providerId="ADAL" clId="{77B9A0F8-9A72-497F-84B0-B4507D7F35A7}" dt="2021-01-13T18:53:06.155" v="831" actId="20577"/>
          <ac:graphicFrameMkLst>
            <pc:docMk/>
            <pc:sldMk cId="4118331896" sldId="8815"/>
            <ac:graphicFrameMk id="29" creationId="{CDD7FB93-74A1-4F24-8B55-43E0C84372E5}"/>
          </ac:graphicFrameMkLst>
        </pc:graphicFrameChg>
      </pc:sldChg>
      <pc:sldChg chg="addSp delSp modSp add ord">
        <pc:chgData name="Tereza Mendes" userId="bb2291e0-f53c-426c-bc7e-e6da289e7b4f" providerId="ADAL" clId="{77B9A0F8-9A72-497F-84B0-B4507D7F35A7}" dt="2021-01-13T20:17:16.099" v="1759" actId="1038"/>
        <pc:sldMkLst>
          <pc:docMk/>
          <pc:sldMk cId="3182445471" sldId="8816"/>
        </pc:sldMkLst>
        <pc:spChg chg="mod">
          <ac:chgData name="Tereza Mendes" userId="bb2291e0-f53c-426c-bc7e-e6da289e7b4f" providerId="ADAL" clId="{77B9A0F8-9A72-497F-84B0-B4507D7F35A7}" dt="2021-01-13T16:36:12.693" v="281" actId="1076"/>
          <ac:spMkLst>
            <pc:docMk/>
            <pc:sldMk cId="3182445471" sldId="8816"/>
            <ac:spMk id="4" creationId="{10E08392-B17D-4AFD-AA06-F4B2F5308414}"/>
          </ac:spMkLst>
        </pc:spChg>
        <pc:spChg chg="mod">
          <ac:chgData name="Tereza Mendes" userId="bb2291e0-f53c-426c-bc7e-e6da289e7b4f" providerId="ADAL" clId="{77B9A0F8-9A72-497F-84B0-B4507D7F35A7}" dt="2021-01-13T20:17:16.099" v="1759" actId="1038"/>
          <ac:spMkLst>
            <pc:docMk/>
            <pc:sldMk cId="3182445471" sldId="8816"/>
            <ac:spMk id="21" creationId="{483B693C-D8D0-4527-95B2-9B339E3FC4B4}"/>
          </ac:spMkLst>
        </pc:spChg>
        <pc:spChg chg="mod">
          <ac:chgData name="Tereza Mendes" userId="bb2291e0-f53c-426c-bc7e-e6da289e7b4f" providerId="ADAL" clId="{77B9A0F8-9A72-497F-84B0-B4507D7F35A7}" dt="2021-01-13T18:40:24.515" v="531" actId="20577"/>
          <ac:spMkLst>
            <pc:docMk/>
            <pc:sldMk cId="3182445471" sldId="8816"/>
            <ac:spMk id="22" creationId="{E060B505-35F3-4C33-BF48-454E392F65A2}"/>
          </ac:spMkLst>
        </pc:spChg>
        <pc:spChg chg="mod">
          <ac:chgData name="Tereza Mendes" userId="bb2291e0-f53c-426c-bc7e-e6da289e7b4f" providerId="ADAL" clId="{77B9A0F8-9A72-497F-84B0-B4507D7F35A7}" dt="2021-01-13T16:49:46.140" v="378" actId="20577"/>
          <ac:spMkLst>
            <pc:docMk/>
            <pc:sldMk cId="3182445471" sldId="8816"/>
            <ac:spMk id="55" creationId="{52CFAC0B-C4AB-400C-9AB7-D7CEF3655112}"/>
          </ac:spMkLst>
        </pc:spChg>
        <pc:spChg chg="mod">
          <ac:chgData name="Tereza Mendes" userId="bb2291e0-f53c-426c-bc7e-e6da289e7b4f" providerId="ADAL" clId="{77B9A0F8-9A72-497F-84B0-B4507D7F35A7}" dt="2021-01-13T16:35:57.125" v="277" actId="1038"/>
          <ac:spMkLst>
            <pc:docMk/>
            <pc:sldMk cId="3182445471" sldId="8816"/>
            <ac:spMk id="59" creationId="{5FAA9B5E-5BC5-450C-9FE2-C5C73C99FB00}"/>
          </ac:spMkLst>
        </pc:spChg>
        <pc:spChg chg="mod">
          <ac:chgData name="Tereza Mendes" userId="bb2291e0-f53c-426c-bc7e-e6da289e7b4f" providerId="ADAL" clId="{77B9A0F8-9A72-497F-84B0-B4507D7F35A7}" dt="2021-01-13T16:35:57.125" v="277" actId="1038"/>
          <ac:spMkLst>
            <pc:docMk/>
            <pc:sldMk cId="3182445471" sldId="8816"/>
            <ac:spMk id="66" creationId="{46CEDF37-3084-4DCE-B06F-58C3B59DC869}"/>
          </ac:spMkLst>
        </pc:spChg>
        <pc:spChg chg="mod">
          <ac:chgData name="Tereza Mendes" userId="bb2291e0-f53c-426c-bc7e-e6da289e7b4f" providerId="ADAL" clId="{77B9A0F8-9A72-497F-84B0-B4507D7F35A7}" dt="2021-01-13T16:50:21.524" v="389" actId="20577"/>
          <ac:spMkLst>
            <pc:docMk/>
            <pc:sldMk cId="3182445471" sldId="8816"/>
            <ac:spMk id="78" creationId="{DD01E0DC-CA52-4D2A-A70F-5AC281CE44B8}"/>
          </ac:spMkLst>
        </pc:spChg>
        <pc:spChg chg="mod">
          <ac:chgData name="Tereza Mendes" userId="bb2291e0-f53c-426c-bc7e-e6da289e7b4f" providerId="ADAL" clId="{77B9A0F8-9A72-497F-84B0-B4507D7F35A7}" dt="2021-01-13T16:35:57.125" v="277" actId="1038"/>
          <ac:spMkLst>
            <pc:docMk/>
            <pc:sldMk cId="3182445471" sldId="8816"/>
            <ac:spMk id="89" creationId="{D2307FC7-D054-493D-80B1-C7BD7907D6E2}"/>
          </ac:spMkLst>
        </pc:spChg>
        <pc:spChg chg="mod">
          <ac:chgData name="Tereza Mendes" userId="bb2291e0-f53c-426c-bc7e-e6da289e7b4f" providerId="ADAL" clId="{77B9A0F8-9A72-497F-84B0-B4507D7F35A7}" dt="2021-01-13T16:35:57.125" v="277" actId="1038"/>
          <ac:spMkLst>
            <pc:docMk/>
            <pc:sldMk cId="3182445471" sldId="8816"/>
            <ac:spMk id="91" creationId="{4FA65AE4-D46B-4AEF-B2F6-C6079E791ABE}"/>
          </ac:spMkLst>
        </pc:spChg>
        <pc:spChg chg="add mod">
          <ac:chgData name="Tereza Mendes" userId="bb2291e0-f53c-426c-bc7e-e6da289e7b4f" providerId="ADAL" clId="{77B9A0F8-9A72-497F-84B0-B4507D7F35A7}" dt="2021-01-13T16:35:50.403" v="263" actId="14100"/>
          <ac:spMkLst>
            <pc:docMk/>
            <pc:sldMk cId="3182445471" sldId="8816"/>
            <ac:spMk id="104" creationId="{9C3360C4-887C-49E0-B761-D02532D90927}"/>
          </ac:spMkLst>
        </pc:spChg>
        <pc:spChg chg="add mod">
          <ac:chgData name="Tereza Mendes" userId="bb2291e0-f53c-426c-bc7e-e6da289e7b4f" providerId="ADAL" clId="{77B9A0F8-9A72-497F-84B0-B4507D7F35A7}" dt="2021-01-13T16:36:06.647" v="278" actId="207"/>
          <ac:spMkLst>
            <pc:docMk/>
            <pc:sldMk cId="3182445471" sldId="8816"/>
            <ac:spMk id="111" creationId="{45EEB40A-C76D-4DF7-AF4D-F0E6312B250D}"/>
          </ac:spMkLst>
        </pc:spChg>
        <pc:spChg chg="mod">
          <ac:chgData name="Tereza Mendes" userId="bb2291e0-f53c-426c-bc7e-e6da289e7b4f" providerId="ADAL" clId="{77B9A0F8-9A72-497F-84B0-B4507D7F35A7}" dt="2021-01-13T16:50:03.472" v="382" actId="20577"/>
          <ac:spMkLst>
            <pc:docMk/>
            <pc:sldMk cId="3182445471" sldId="8816"/>
            <ac:spMk id="117" creationId="{B3708604-3837-42B6-8574-708267FC5CEB}"/>
          </ac:spMkLst>
        </pc:spChg>
        <pc:spChg chg="mod">
          <ac:chgData name="Tereza Mendes" userId="bb2291e0-f53c-426c-bc7e-e6da289e7b4f" providerId="ADAL" clId="{77B9A0F8-9A72-497F-84B0-B4507D7F35A7}" dt="2021-01-13T16:50:44.221" v="408" actId="1038"/>
          <ac:spMkLst>
            <pc:docMk/>
            <pc:sldMk cId="3182445471" sldId="8816"/>
            <ac:spMk id="120" creationId="{F9D35106-F0F1-4BB8-A83F-BFD5BA8D1173}"/>
          </ac:spMkLst>
        </pc:spChg>
        <pc:grpChg chg="mod">
          <ac:chgData name="Tereza Mendes" userId="bb2291e0-f53c-426c-bc7e-e6da289e7b4f" providerId="ADAL" clId="{77B9A0F8-9A72-497F-84B0-B4507D7F35A7}" dt="2021-01-13T18:48:51.455" v="756" actId="1036"/>
          <ac:grpSpMkLst>
            <pc:docMk/>
            <pc:sldMk cId="3182445471" sldId="8816"/>
            <ac:grpSpMk id="8" creationId="{B98F1AA4-AAB4-49E6-AF5B-77F89CEDE85E}"/>
          </ac:grpSpMkLst>
        </pc:grpChg>
        <pc:grpChg chg="mod">
          <ac:chgData name="Tereza Mendes" userId="bb2291e0-f53c-426c-bc7e-e6da289e7b4f" providerId="ADAL" clId="{77B9A0F8-9A72-497F-84B0-B4507D7F35A7}" dt="2021-01-13T18:48:51.455" v="756" actId="1036"/>
          <ac:grpSpMkLst>
            <pc:docMk/>
            <pc:sldMk cId="3182445471" sldId="8816"/>
            <ac:grpSpMk id="44" creationId="{42D18C3A-0525-4B08-A501-39F7CE0E3BC3}"/>
          </ac:grpSpMkLst>
        </pc:grpChg>
        <pc:grpChg chg="mod">
          <ac:chgData name="Tereza Mendes" userId="bb2291e0-f53c-426c-bc7e-e6da289e7b4f" providerId="ADAL" clId="{77B9A0F8-9A72-497F-84B0-B4507D7F35A7}" dt="2021-01-13T16:53:14.197" v="453" actId="1035"/>
          <ac:grpSpMkLst>
            <pc:docMk/>
            <pc:sldMk cId="3182445471" sldId="8816"/>
            <ac:grpSpMk id="76" creationId="{CB7C2FCE-4CAF-4DB2-A714-70B84C303EAC}"/>
          </ac:grpSpMkLst>
        </pc:grpChg>
        <pc:grpChg chg="add mod">
          <ac:chgData name="Tereza Mendes" userId="bb2291e0-f53c-426c-bc7e-e6da289e7b4f" providerId="ADAL" clId="{77B9A0F8-9A72-497F-84B0-B4507D7F35A7}" dt="2021-01-13T16:53:14.197" v="453" actId="1035"/>
          <ac:grpSpMkLst>
            <pc:docMk/>
            <pc:sldMk cId="3182445471" sldId="8816"/>
            <ac:grpSpMk id="115" creationId="{9052FE52-48DC-4184-910D-767DAAC50576}"/>
          </ac:grpSpMkLst>
        </pc:grpChg>
        <pc:grpChg chg="add del mod">
          <ac:chgData name="Tereza Mendes" userId="bb2291e0-f53c-426c-bc7e-e6da289e7b4f" providerId="ADAL" clId="{77B9A0F8-9A72-497F-84B0-B4507D7F35A7}" dt="2021-01-13T18:57:56.236" v="924" actId="478"/>
          <ac:grpSpMkLst>
            <pc:docMk/>
            <pc:sldMk cId="3182445471" sldId="8816"/>
            <ac:grpSpMk id="118" creationId="{E9E96FD8-8D05-4FC0-AB41-DB60860835C3}"/>
          </ac:grpSpMkLst>
        </pc:grpChg>
        <pc:grpChg chg="add del mod">
          <ac:chgData name="Tereza Mendes" userId="bb2291e0-f53c-426c-bc7e-e6da289e7b4f" providerId="ADAL" clId="{77B9A0F8-9A72-497F-84B0-B4507D7F35A7}" dt="2021-01-13T17:53:12.630" v="473" actId="478"/>
          <ac:grpSpMkLst>
            <pc:docMk/>
            <pc:sldMk cId="3182445471" sldId="8816"/>
            <ac:grpSpMk id="121" creationId="{348D9DF6-5876-49E8-AC3D-2332402A652B}"/>
          </ac:grpSpMkLst>
        </pc:grpChg>
        <pc:grpChg chg="add mod">
          <ac:chgData name="Tereza Mendes" userId="bb2291e0-f53c-426c-bc7e-e6da289e7b4f" providerId="ADAL" clId="{77B9A0F8-9A72-497F-84B0-B4507D7F35A7}" dt="2021-01-13T18:48:51.455" v="756" actId="1036"/>
          <ac:grpSpMkLst>
            <pc:docMk/>
            <pc:sldMk cId="3182445471" sldId="8816"/>
            <ac:grpSpMk id="125" creationId="{0B6AF47B-1DE1-4867-8EEF-2FCD039E7B64}"/>
          </ac:grpSpMkLst>
        </pc:grpChg>
        <pc:graphicFrameChg chg="mod modGraphic">
          <ac:chgData name="Tereza Mendes" userId="bb2291e0-f53c-426c-bc7e-e6da289e7b4f" providerId="ADAL" clId="{77B9A0F8-9A72-497F-84B0-B4507D7F35A7}" dt="2021-01-13T19:00:00.798" v="929" actId="20577"/>
          <ac:graphicFrameMkLst>
            <pc:docMk/>
            <pc:sldMk cId="3182445471" sldId="8816"/>
            <ac:graphicFrameMk id="7" creationId="{16CB7E22-3BAD-4002-B248-E208A823C213}"/>
          </ac:graphicFrameMkLst>
        </pc:graphicFrameChg>
      </pc:sldChg>
      <pc:sldChg chg="modSp add">
        <pc:chgData name="Tereza Mendes" userId="bb2291e0-f53c-426c-bc7e-e6da289e7b4f" providerId="ADAL" clId="{77B9A0F8-9A72-497F-84B0-B4507D7F35A7}" dt="2021-01-13T19:27:44.177" v="1747" actId="13926"/>
        <pc:sldMkLst>
          <pc:docMk/>
          <pc:sldMk cId="2025934884" sldId="8817"/>
        </pc:sldMkLst>
        <pc:spChg chg="mod">
          <ac:chgData name="Tereza Mendes" userId="bb2291e0-f53c-426c-bc7e-e6da289e7b4f" providerId="ADAL" clId="{77B9A0F8-9A72-497F-84B0-B4507D7F35A7}" dt="2021-01-13T19:24:22.686" v="1610" actId="13926"/>
          <ac:spMkLst>
            <pc:docMk/>
            <pc:sldMk cId="2025934884" sldId="8817"/>
            <ac:spMk id="2" creationId="{E4065686-F7E1-4579-8528-CCDA6A8807B3}"/>
          </ac:spMkLst>
        </pc:spChg>
        <pc:spChg chg="mod">
          <ac:chgData name="Tereza Mendes" userId="bb2291e0-f53c-426c-bc7e-e6da289e7b4f" providerId="ADAL" clId="{77B9A0F8-9A72-497F-84B0-B4507D7F35A7}" dt="2021-01-13T19:24:21.104" v="1609" actId="13926"/>
          <ac:spMkLst>
            <pc:docMk/>
            <pc:sldMk cId="2025934884" sldId="8817"/>
            <ac:spMk id="34" creationId="{13B98DAC-4356-4A9A-BD8C-4EAF68F258AD}"/>
          </ac:spMkLst>
        </pc:spChg>
        <pc:spChg chg="mod">
          <ac:chgData name="Tereza Mendes" userId="bb2291e0-f53c-426c-bc7e-e6da289e7b4f" providerId="ADAL" clId="{77B9A0F8-9A72-497F-84B0-B4507D7F35A7}" dt="2021-01-13T19:19:55.184" v="999" actId="20577"/>
          <ac:spMkLst>
            <pc:docMk/>
            <pc:sldMk cId="2025934884" sldId="8817"/>
            <ac:spMk id="35" creationId="{1706A8F9-E956-4CAC-BE2F-4C652246BE32}"/>
          </ac:spMkLst>
        </pc:spChg>
        <pc:spChg chg="mod">
          <ac:chgData name="Tereza Mendes" userId="bb2291e0-f53c-426c-bc7e-e6da289e7b4f" providerId="ADAL" clId="{77B9A0F8-9A72-497F-84B0-B4507D7F35A7}" dt="2021-01-13T19:19:59.833" v="1000"/>
          <ac:spMkLst>
            <pc:docMk/>
            <pc:sldMk cId="2025934884" sldId="8817"/>
            <ac:spMk id="36" creationId="{72EB498C-A1FD-4F6E-8930-44745C15D023}"/>
          </ac:spMkLst>
        </pc:spChg>
        <pc:spChg chg="mod">
          <ac:chgData name="Tereza Mendes" userId="bb2291e0-f53c-426c-bc7e-e6da289e7b4f" providerId="ADAL" clId="{77B9A0F8-9A72-497F-84B0-B4507D7F35A7}" dt="2021-01-13T19:24:57.016" v="1636" actId="13926"/>
          <ac:spMkLst>
            <pc:docMk/>
            <pc:sldMk cId="2025934884" sldId="8817"/>
            <ac:spMk id="56" creationId="{0937C99F-7087-4FB0-98D0-DB2D96F1FEDC}"/>
          </ac:spMkLst>
        </pc:spChg>
        <pc:spChg chg="mod">
          <ac:chgData name="Tereza Mendes" userId="bb2291e0-f53c-426c-bc7e-e6da289e7b4f" providerId="ADAL" clId="{77B9A0F8-9A72-497F-84B0-B4507D7F35A7}" dt="2021-01-13T19:25:05.744" v="1638" actId="20577"/>
          <ac:spMkLst>
            <pc:docMk/>
            <pc:sldMk cId="2025934884" sldId="8817"/>
            <ac:spMk id="57" creationId="{607DFE4D-0CF2-4D5C-B238-F45ED141D961}"/>
          </ac:spMkLst>
        </pc:spChg>
        <pc:graphicFrameChg chg="modGraphic">
          <ac:chgData name="Tereza Mendes" userId="bb2291e0-f53c-426c-bc7e-e6da289e7b4f" providerId="ADAL" clId="{77B9A0F8-9A72-497F-84B0-B4507D7F35A7}" dt="2021-01-13T19:27:44.177" v="1747" actId="13926"/>
          <ac:graphicFrameMkLst>
            <pc:docMk/>
            <pc:sldMk cId="2025934884" sldId="8817"/>
            <ac:graphicFrameMk id="29" creationId="{CDD7FB93-74A1-4F24-8B55-43E0C84372E5}"/>
          </ac:graphicFrameMkLst>
        </pc:graphicFrameChg>
      </pc:sldChg>
    </pc:docChg>
  </pc:docChgLst>
  <pc:docChgLst>
    <pc:chgData name="Tereza Mendes" userId="bb2291e0-f53c-426c-bc7e-e6da289e7b4f" providerId="ADAL" clId="{4BB3A8DB-64B7-407C-8A6E-1F9D0319BC4D}"/>
    <pc:docChg chg="undo redo custSel addSld modSld">
      <pc:chgData name="Tereza Mendes" userId="bb2291e0-f53c-426c-bc7e-e6da289e7b4f" providerId="ADAL" clId="{4BB3A8DB-64B7-407C-8A6E-1F9D0319BC4D}" dt="2021-01-11T20:31:25.620" v="1353" actId="207"/>
      <pc:docMkLst>
        <pc:docMk/>
      </pc:docMkLst>
      <pc:sldChg chg="modSp">
        <pc:chgData name="Tereza Mendes" userId="bb2291e0-f53c-426c-bc7e-e6da289e7b4f" providerId="ADAL" clId="{4BB3A8DB-64B7-407C-8A6E-1F9D0319BC4D}" dt="2021-01-11T12:45:01.488" v="692" actId="14100"/>
        <pc:sldMkLst>
          <pc:docMk/>
          <pc:sldMk cId="461259891" sldId="2612"/>
        </pc:sldMkLst>
        <pc:spChg chg="mod">
          <ac:chgData name="Tereza Mendes" userId="bb2291e0-f53c-426c-bc7e-e6da289e7b4f" providerId="ADAL" clId="{4BB3A8DB-64B7-407C-8A6E-1F9D0319BC4D}" dt="2021-01-11T12:45:01.488" v="692" actId="14100"/>
          <ac:spMkLst>
            <pc:docMk/>
            <pc:sldMk cId="461259891" sldId="2612"/>
            <ac:spMk id="38" creationId="{55C5EEAF-63B8-4762-A3EB-9A151742638D}"/>
          </ac:spMkLst>
        </pc:spChg>
      </pc:sldChg>
      <pc:sldChg chg="modSp">
        <pc:chgData name="Tereza Mendes" userId="bb2291e0-f53c-426c-bc7e-e6da289e7b4f" providerId="ADAL" clId="{4BB3A8DB-64B7-407C-8A6E-1F9D0319BC4D}" dt="2021-01-11T12:45:06.415" v="693" actId="14100"/>
        <pc:sldMkLst>
          <pc:docMk/>
          <pc:sldMk cId="2220034289" sldId="8807"/>
        </pc:sldMkLst>
        <pc:spChg chg="mod">
          <ac:chgData name="Tereza Mendes" userId="bb2291e0-f53c-426c-bc7e-e6da289e7b4f" providerId="ADAL" clId="{4BB3A8DB-64B7-407C-8A6E-1F9D0319BC4D}" dt="2021-01-11T12:45:06.415" v="693" actId="14100"/>
          <ac:spMkLst>
            <pc:docMk/>
            <pc:sldMk cId="2220034289" sldId="8807"/>
            <ac:spMk id="38" creationId="{55C5EEAF-63B8-4762-A3EB-9A151742638D}"/>
          </ac:spMkLst>
        </pc:spChg>
      </pc:sldChg>
      <pc:sldChg chg="modSp">
        <pc:chgData name="Tereza Mendes" userId="bb2291e0-f53c-426c-bc7e-e6da289e7b4f" providerId="ADAL" clId="{4BB3A8DB-64B7-407C-8A6E-1F9D0319BC4D}" dt="2021-01-11T12:44:53.131" v="691" actId="14100"/>
        <pc:sldMkLst>
          <pc:docMk/>
          <pc:sldMk cId="720035197" sldId="8808"/>
        </pc:sldMkLst>
        <pc:spChg chg="mod">
          <ac:chgData name="Tereza Mendes" userId="bb2291e0-f53c-426c-bc7e-e6da289e7b4f" providerId="ADAL" clId="{4BB3A8DB-64B7-407C-8A6E-1F9D0319BC4D}" dt="2021-01-11T12:44:53.131" v="691" actId="14100"/>
          <ac:spMkLst>
            <pc:docMk/>
            <pc:sldMk cId="720035197" sldId="8808"/>
            <ac:spMk id="38" creationId="{55C5EEAF-63B8-4762-A3EB-9A151742638D}"/>
          </ac:spMkLst>
        </pc:spChg>
      </pc:sldChg>
      <pc:sldChg chg="modSp">
        <pc:chgData name="Tereza Mendes" userId="bb2291e0-f53c-426c-bc7e-e6da289e7b4f" providerId="ADAL" clId="{4BB3A8DB-64B7-407C-8A6E-1F9D0319BC4D}" dt="2021-01-11T20:31:25.620" v="1353" actId="207"/>
        <pc:sldMkLst>
          <pc:docMk/>
          <pc:sldMk cId="4150128491" sldId="8809"/>
        </pc:sldMkLst>
        <pc:graphicFrameChg chg="mod modGraphic">
          <ac:chgData name="Tereza Mendes" userId="bb2291e0-f53c-426c-bc7e-e6da289e7b4f" providerId="ADAL" clId="{4BB3A8DB-64B7-407C-8A6E-1F9D0319BC4D}" dt="2021-01-11T20:31:25.620" v="1353" actId="207"/>
          <ac:graphicFrameMkLst>
            <pc:docMk/>
            <pc:sldMk cId="4150128491" sldId="8809"/>
            <ac:graphicFrameMk id="7" creationId="{16CB7E22-3BAD-4002-B248-E208A823C213}"/>
          </ac:graphicFrameMkLst>
        </pc:graphicFrameChg>
      </pc:sldChg>
      <pc:sldChg chg="modSp">
        <pc:chgData name="Tereza Mendes" userId="bb2291e0-f53c-426c-bc7e-e6da289e7b4f" providerId="ADAL" clId="{4BB3A8DB-64B7-407C-8A6E-1F9D0319BC4D}" dt="2021-01-11T20:27:25.853" v="1342" actId="14734"/>
        <pc:sldMkLst>
          <pc:docMk/>
          <pc:sldMk cId="3578439707" sldId="8812"/>
        </pc:sldMkLst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17" creationId="{EE9A4875-21A8-4E08-9778-FECEDED0A2AF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18" creationId="{F5324C2C-CCBC-477E-84A9-702970A4CF72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19" creationId="{77B30FFB-986A-43D4-96A5-644C11DCABA1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23" creationId="{9B09B1FB-7F54-4443-B5E4-EC261230603C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26" creationId="{2E2C6C24-6C33-4180-A0CC-8A87240D6EF5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42" creationId="{B2E718F3-6C66-4EC1-B856-CD1ECA0F97F6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43" creationId="{10E8F298-2FEF-4E08-A218-C05ED9E304CD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44" creationId="{393ACC8F-9FD8-433D-9C7B-2ED25C59A8D5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45" creationId="{270ED21D-61DE-40D6-98D9-71739F1F6841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47" creationId="{66192F3F-CD4A-4D33-9828-44720750008C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48" creationId="{CD883FB0-0C76-48A8-BB78-9DC5818B043C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0" creationId="{6F0B9857-A609-47B1-83D1-C19F12FE7AF9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1" creationId="{A93BB5B1-E2AC-48B3-BFC6-B85BF5BF3EEC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2" creationId="{6E50EAAB-C2AF-4E4D-8DF2-190F69D2E642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3" creationId="{0477C236-677B-4B6F-96F4-337015D039F2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4" creationId="{5842E78F-701E-4CE0-BC97-5C3E2D406686}"/>
          </ac:spMkLst>
        </pc:spChg>
        <pc:spChg chg="mod">
          <ac:chgData name="Tereza Mendes" userId="bb2291e0-f53c-426c-bc7e-e6da289e7b4f" providerId="ADAL" clId="{4BB3A8DB-64B7-407C-8A6E-1F9D0319BC4D}" dt="2021-01-11T19:41:41.417" v="969" actId="1036"/>
          <ac:spMkLst>
            <pc:docMk/>
            <pc:sldMk cId="3578439707" sldId="8812"/>
            <ac:spMk id="55" creationId="{6A3D8DD4-5506-456B-BA2D-3284DCA50580}"/>
          </ac:spMkLst>
        </pc:spChg>
        <pc:spChg chg="mod">
          <ac:chgData name="Tereza Mendes" userId="bb2291e0-f53c-426c-bc7e-e6da289e7b4f" providerId="ADAL" clId="{4BB3A8DB-64B7-407C-8A6E-1F9D0319BC4D}" dt="2021-01-11T20:04:17.038" v="1299"/>
          <ac:spMkLst>
            <pc:docMk/>
            <pc:sldMk cId="3578439707" sldId="8812"/>
            <ac:spMk id="56" creationId="{0937C99F-7087-4FB0-98D0-DB2D96F1FEDC}"/>
          </ac:spMkLst>
        </pc:spChg>
        <pc:spChg chg="mod">
          <ac:chgData name="Tereza Mendes" userId="bb2291e0-f53c-426c-bc7e-e6da289e7b4f" providerId="ADAL" clId="{4BB3A8DB-64B7-407C-8A6E-1F9D0319BC4D}" dt="2021-01-11T20:04:51.335" v="1303" actId="20577"/>
          <ac:spMkLst>
            <pc:docMk/>
            <pc:sldMk cId="3578439707" sldId="8812"/>
            <ac:spMk id="57" creationId="{607DFE4D-0CF2-4D5C-B238-F45ED141D961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1" creationId="{F509D0A0-7343-480C-8B03-7FBB961EA76C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2" creationId="{0204BD64-83DA-49F6-84F7-1B1E58ED01E2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3" creationId="{44AA5F87-AB15-48B6-8EBB-D65A81205A55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4" creationId="{E603DC79-925B-4DDD-83CC-2BB68651234F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5" creationId="{356D67B7-4175-41BD-8F6E-ADDAD3AF47ED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6" creationId="{0193F79A-66BB-4BAB-AC23-13A19CDCF3BC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67" creationId="{7E3071DE-A2D9-480B-91E3-8C46F616E649}"/>
          </ac:spMkLst>
        </pc:spChg>
        <pc:spChg chg="mod">
          <ac:chgData name="Tereza Mendes" userId="bb2291e0-f53c-426c-bc7e-e6da289e7b4f" providerId="ADAL" clId="{4BB3A8DB-64B7-407C-8A6E-1F9D0319BC4D}" dt="2021-01-11T20:11:02.461" v="1340" actId="13926"/>
          <ac:spMkLst>
            <pc:docMk/>
            <pc:sldMk cId="3578439707" sldId="8812"/>
            <ac:spMk id="68" creationId="{0C2CF502-3061-4A53-94C0-7AA3BD3356F9}"/>
          </ac:spMkLst>
        </pc:spChg>
        <pc:spChg chg="mod">
          <ac:chgData name="Tereza Mendes" userId="bb2291e0-f53c-426c-bc7e-e6da289e7b4f" providerId="ADAL" clId="{4BB3A8DB-64B7-407C-8A6E-1F9D0319BC4D}" dt="2021-01-11T20:04:58.042" v="1304"/>
          <ac:spMkLst>
            <pc:docMk/>
            <pc:sldMk cId="3578439707" sldId="8812"/>
            <ac:spMk id="69" creationId="{B9FE4F48-8A3B-47DB-A060-DACAB634292B}"/>
          </ac:spMkLst>
        </pc:spChg>
        <pc:spChg chg="mod">
          <ac:chgData name="Tereza Mendes" userId="bb2291e0-f53c-426c-bc7e-e6da289e7b4f" providerId="ADAL" clId="{4BB3A8DB-64B7-407C-8A6E-1F9D0319BC4D}" dt="2021-01-11T20:05:19.501" v="1310" actId="20577"/>
          <ac:spMkLst>
            <pc:docMk/>
            <pc:sldMk cId="3578439707" sldId="8812"/>
            <ac:spMk id="70" creationId="{9FB8BE57-8CE1-404F-A11D-6027FDE68ECD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71" creationId="{2A8B3D5F-6126-498D-867C-2FD7F96DCAF9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73" creationId="{65C74F9C-FDD9-4ECD-89C4-82304577B403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74" creationId="{DCDEE5CF-44D1-4996-9EF0-D94666EE72CA}"/>
          </ac:spMkLst>
        </pc:spChg>
        <pc:spChg chg="mod">
          <ac:chgData name="Tereza Mendes" userId="bb2291e0-f53c-426c-bc7e-e6da289e7b4f" providerId="ADAL" clId="{4BB3A8DB-64B7-407C-8A6E-1F9D0319BC4D}" dt="2021-01-11T20:05:02.717" v="1309" actId="20577"/>
          <ac:spMkLst>
            <pc:docMk/>
            <pc:sldMk cId="3578439707" sldId="8812"/>
            <ac:spMk id="75" creationId="{74913BB5-A723-437D-8E4B-B870A232CB79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76" creationId="{24494BE8-FFBD-4E5D-972A-66570E851CFE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81" creationId="{8922C9D7-ADE3-4E9D-817B-D9EC7A9FCE64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82" creationId="{3188502E-D3A1-4619-8520-DBED94235407}"/>
          </ac:spMkLst>
        </pc:spChg>
        <pc:spChg chg="mod">
          <ac:chgData name="Tereza Mendes" userId="bb2291e0-f53c-426c-bc7e-e6da289e7b4f" providerId="ADAL" clId="{4BB3A8DB-64B7-407C-8A6E-1F9D0319BC4D}" dt="2021-01-11T19:40:33.961" v="911" actId="1036"/>
          <ac:spMkLst>
            <pc:docMk/>
            <pc:sldMk cId="3578439707" sldId="8812"/>
            <ac:spMk id="83" creationId="{1C01FE5B-EBEC-441E-ABA9-79B777AA7D60}"/>
          </ac:spMkLst>
        </pc:spChg>
        <pc:grpChg chg="mod">
          <ac:chgData name="Tereza Mendes" userId="bb2291e0-f53c-426c-bc7e-e6da289e7b4f" providerId="ADAL" clId="{4BB3A8DB-64B7-407C-8A6E-1F9D0319BC4D}" dt="2021-01-11T19:42:19.835" v="994" actId="1038"/>
          <ac:grpSpMkLst>
            <pc:docMk/>
            <pc:sldMk cId="3578439707" sldId="8812"/>
            <ac:grpSpMk id="59" creationId="{5BE146CB-0A8C-47DC-9669-AA9A58EB4632}"/>
          </ac:grpSpMkLst>
        </pc:grpChg>
        <pc:grpChg chg="mod">
          <ac:chgData name="Tereza Mendes" userId="bb2291e0-f53c-426c-bc7e-e6da289e7b4f" providerId="ADAL" clId="{4BB3A8DB-64B7-407C-8A6E-1F9D0319BC4D}" dt="2021-01-11T19:42:19.835" v="994" actId="1038"/>
          <ac:grpSpMkLst>
            <pc:docMk/>
            <pc:sldMk cId="3578439707" sldId="8812"/>
            <ac:grpSpMk id="85" creationId="{C19AE779-EC13-4320-A817-39E2DCD138F6}"/>
          </ac:grpSpMkLst>
        </pc:grpChg>
        <pc:grpChg chg="mod">
          <ac:chgData name="Tereza Mendes" userId="bb2291e0-f53c-426c-bc7e-e6da289e7b4f" providerId="ADAL" clId="{4BB3A8DB-64B7-407C-8A6E-1F9D0319BC4D}" dt="2021-01-11T19:42:19.835" v="994" actId="1038"/>
          <ac:grpSpMkLst>
            <pc:docMk/>
            <pc:sldMk cId="3578439707" sldId="8812"/>
            <ac:grpSpMk id="89" creationId="{8E247661-4E3A-40D0-BFB5-8B293280D68A}"/>
          </ac:grpSpMkLst>
        </pc:grpChg>
        <pc:graphicFrameChg chg="mod modGraphic">
          <ac:chgData name="Tereza Mendes" userId="bb2291e0-f53c-426c-bc7e-e6da289e7b4f" providerId="ADAL" clId="{4BB3A8DB-64B7-407C-8A6E-1F9D0319BC4D}" dt="2021-01-11T20:27:25.853" v="1342" actId="14734"/>
          <ac:graphicFrameMkLst>
            <pc:docMk/>
            <pc:sldMk cId="3578439707" sldId="8812"/>
            <ac:graphicFrameMk id="60" creationId="{95F74F7E-C162-4B94-9980-BA41F9700C4C}"/>
          </ac:graphicFrameMkLst>
        </pc:graphicFrameChg>
        <pc:cxnChg chg="mod">
          <ac:chgData name="Tereza Mendes" userId="bb2291e0-f53c-426c-bc7e-e6da289e7b4f" providerId="ADAL" clId="{4BB3A8DB-64B7-407C-8A6E-1F9D0319BC4D}" dt="2021-01-11T19:41:41.417" v="969" actId="1036"/>
          <ac:cxnSpMkLst>
            <pc:docMk/>
            <pc:sldMk cId="3578439707" sldId="8812"/>
            <ac:cxnSpMk id="49" creationId="{B2E08041-A30C-4C73-BE0F-61B177A194D5}"/>
          </ac:cxnSpMkLst>
        </pc:cxnChg>
      </pc:sldChg>
      <pc:sldChg chg="addSp delSp modSp">
        <pc:chgData name="Tereza Mendes" userId="bb2291e0-f53c-426c-bc7e-e6da289e7b4f" providerId="ADAL" clId="{4BB3A8DB-64B7-407C-8A6E-1F9D0319BC4D}" dt="2021-01-11T20:10:57.349" v="1339" actId="13926"/>
        <pc:sldMkLst>
          <pc:docMk/>
          <pc:sldMk cId="1217463327" sldId="8813"/>
        </pc:sldMkLst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17" creationId="{EE9A4875-21A8-4E08-9778-FECEDED0A2AF}"/>
          </ac:spMkLst>
        </pc:spChg>
        <pc:spChg chg="mod">
          <ac:chgData name="Tereza Mendes" userId="bb2291e0-f53c-426c-bc7e-e6da289e7b4f" providerId="ADAL" clId="{4BB3A8DB-64B7-407C-8A6E-1F9D0319BC4D}" dt="2021-01-11T19:58:11.911" v="1238" actId="14100"/>
          <ac:spMkLst>
            <pc:docMk/>
            <pc:sldMk cId="1217463327" sldId="8813"/>
            <ac:spMk id="18" creationId="{F5324C2C-CCBC-477E-84A9-702970A4CF72}"/>
          </ac:spMkLst>
        </pc:spChg>
        <pc:spChg chg="mod">
          <ac:chgData name="Tereza Mendes" userId="bb2291e0-f53c-426c-bc7e-e6da289e7b4f" providerId="ADAL" clId="{4BB3A8DB-64B7-407C-8A6E-1F9D0319BC4D}" dt="2021-01-11T19:58:17.771" v="1239" actId="14100"/>
          <ac:spMkLst>
            <pc:docMk/>
            <pc:sldMk cId="1217463327" sldId="8813"/>
            <ac:spMk id="19" creationId="{77B30FFB-986A-43D4-96A5-644C11DCABA1}"/>
          </ac:spMkLst>
        </pc:spChg>
        <pc:spChg chg="mod">
          <ac:chgData name="Tereza Mendes" userId="bb2291e0-f53c-426c-bc7e-e6da289e7b4f" providerId="ADAL" clId="{4BB3A8DB-64B7-407C-8A6E-1F9D0319BC4D}" dt="2021-01-11T19:58:17.771" v="1239" actId="14100"/>
          <ac:spMkLst>
            <pc:docMk/>
            <pc:sldMk cId="1217463327" sldId="8813"/>
            <ac:spMk id="23" creationId="{9B09B1FB-7F54-4443-B5E4-EC261230603C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26" creationId="{2E2C6C24-6C33-4180-A0CC-8A87240D6EF5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42" creationId="{B2E718F3-6C66-4EC1-B856-CD1ECA0F97F6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43" creationId="{10E8F298-2FEF-4E08-A218-C05ED9E304CD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44" creationId="{393ACC8F-9FD8-433D-9C7B-2ED25C59A8D5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45" creationId="{270ED21D-61DE-40D6-98D9-71739F1F6841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47" creationId="{66192F3F-CD4A-4D33-9828-44720750008C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48" creationId="{CD883FB0-0C76-48A8-BB78-9DC5818B043C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0" creationId="{6F0B9857-A609-47B1-83D1-C19F12FE7AF9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1" creationId="{A93BB5B1-E2AC-48B3-BFC6-B85BF5BF3EEC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2" creationId="{6E50EAAB-C2AF-4E4D-8DF2-190F69D2E642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3" creationId="{0477C236-677B-4B6F-96F4-337015D039F2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4" creationId="{5842E78F-701E-4CE0-BC97-5C3E2D406686}"/>
          </ac:spMkLst>
        </pc:spChg>
        <pc:spChg chg="del">
          <ac:chgData name="Tereza Mendes" userId="bb2291e0-f53c-426c-bc7e-e6da289e7b4f" providerId="ADAL" clId="{4BB3A8DB-64B7-407C-8A6E-1F9D0319BC4D}" dt="2021-01-11T19:45:38.477" v="1032" actId="478"/>
          <ac:spMkLst>
            <pc:docMk/>
            <pc:sldMk cId="1217463327" sldId="8813"/>
            <ac:spMk id="55" creationId="{6A3D8DD4-5506-456B-BA2D-3284DCA50580}"/>
          </ac:spMkLst>
        </pc:spChg>
        <pc:spChg chg="mod">
          <ac:chgData name="Tereza Mendes" userId="bb2291e0-f53c-426c-bc7e-e6da289e7b4f" providerId="ADAL" clId="{4BB3A8DB-64B7-407C-8A6E-1F9D0319BC4D}" dt="2021-01-11T20:04:11.290" v="1298" actId="20577"/>
          <ac:spMkLst>
            <pc:docMk/>
            <pc:sldMk cId="1217463327" sldId="8813"/>
            <ac:spMk id="56" creationId="{0937C99F-7087-4FB0-98D0-DB2D96F1FEDC}"/>
          </ac:spMkLst>
        </pc:spChg>
        <pc:spChg chg="mod">
          <ac:chgData name="Tereza Mendes" userId="bb2291e0-f53c-426c-bc7e-e6da289e7b4f" providerId="ADAL" clId="{4BB3A8DB-64B7-407C-8A6E-1F9D0319BC4D}" dt="2021-01-11T19:58:21.865" v="1249" actId="1038"/>
          <ac:spMkLst>
            <pc:docMk/>
            <pc:sldMk cId="1217463327" sldId="8813"/>
            <ac:spMk id="57" creationId="{607DFE4D-0CF2-4D5C-B238-F45ED141D961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61" creationId="{F509D0A0-7343-480C-8B03-7FBB961EA76C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62" creationId="{0204BD64-83DA-49F6-84F7-1B1E58ED01E2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63" creationId="{44AA5F87-AB15-48B6-8EBB-D65A81205A55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64" creationId="{E603DC79-925B-4DDD-83CC-2BB68651234F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65" creationId="{356D67B7-4175-41BD-8F6E-ADDAD3AF47ED}"/>
          </ac:spMkLst>
        </pc:spChg>
        <pc:spChg chg="mod">
          <ac:chgData name="Tereza Mendes" userId="bb2291e0-f53c-426c-bc7e-e6da289e7b4f" providerId="ADAL" clId="{4BB3A8DB-64B7-407C-8A6E-1F9D0319BC4D}" dt="2021-01-11T20:00:25.251" v="1275" actId="14100"/>
          <ac:spMkLst>
            <pc:docMk/>
            <pc:sldMk cId="1217463327" sldId="8813"/>
            <ac:spMk id="66" creationId="{0193F79A-66BB-4BAB-AC23-13A19CDCF3BC}"/>
          </ac:spMkLst>
        </pc:spChg>
        <pc:spChg chg="mod">
          <ac:chgData name="Tereza Mendes" userId="bb2291e0-f53c-426c-bc7e-e6da289e7b4f" providerId="ADAL" clId="{4BB3A8DB-64B7-407C-8A6E-1F9D0319BC4D}" dt="2021-01-11T20:00:27.560" v="1276" actId="14100"/>
          <ac:spMkLst>
            <pc:docMk/>
            <pc:sldMk cId="1217463327" sldId="8813"/>
            <ac:spMk id="67" creationId="{7E3071DE-A2D9-480B-91E3-8C46F616E649}"/>
          </ac:spMkLst>
        </pc:spChg>
        <pc:spChg chg="mod">
          <ac:chgData name="Tereza Mendes" userId="bb2291e0-f53c-426c-bc7e-e6da289e7b4f" providerId="ADAL" clId="{4BB3A8DB-64B7-407C-8A6E-1F9D0319BC4D}" dt="2021-01-11T20:10:57.349" v="1339" actId="13926"/>
          <ac:spMkLst>
            <pc:docMk/>
            <pc:sldMk cId="1217463327" sldId="8813"/>
            <ac:spMk id="68" creationId="{0C2CF502-3061-4A53-94C0-7AA3BD3356F9}"/>
          </ac:spMkLst>
        </pc:spChg>
        <pc:spChg chg="mod">
          <ac:chgData name="Tereza Mendes" userId="bb2291e0-f53c-426c-bc7e-e6da289e7b4f" providerId="ADAL" clId="{4BB3A8DB-64B7-407C-8A6E-1F9D0319BC4D}" dt="2021-01-11T20:00:25.251" v="1275" actId="14100"/>
          <ac:spMkLst>
            <pc:docMk/>
            <pc:sldMk cId="1217463327" sldId="8813"/>
            <ac:spMk id="69" creationId="{B9FE4F48-8A3B-47DB-A060-DACAB634292B}"/>
          </ac:spMkLst>
        </pc:spChg>
        <pc:spChg chg="mod">
          <ac:chgData name="Tereza Mendes" userId="bb2291e0-f53c-426c-bc7e-e6da289e7b4f" providerId="ADAL" clId="{4BB3A8DB-64B7-407C-8A6E-1F9D0319BC4D}" dt="2021-01-11T20:00:39.359" v="1289" actId="1038"/>
          <ac:spMkLst>
            <pc:docMk/>
            <pc:sldMk cId="1217463327" sldId="8813"/>
            <ac:spMk id="70" creationId="{9FB8BE57-8CE1-404F-A11D-6027FDE68ECD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71" creationId="{2A8B3D5F-6126-498D-867C-2FD7F96DCAF9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73" creationId="{65C74F9C-FDD9-4ECD-89C4-82304577B403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74" creationId="{DCDEE5CF-44D1-4996-9EF0-D94666EE72CA}"/>
          </ac:spMkLst>
        </pc:spChg>
        <pc:spChg chg="mod">
          <ac:chgData name="Tereza Mendes" userId="bb2291e0-f53c-426c-bc7e-e6da289e7b4f" providerId="ADAL" clId="{4BB3A8DB-64B7-407C-8A6E-1F9D0319BC4D}" dt="2021-01-11T19:59:45.107" v="1270" actId="20577"/>
          <ac:spMkLst>
            <pc:docMk/>
            <pc:sldMk cId="1217463327" sldId="8813"/>
            <ac:spMk id="75" creationId="{74913BB5-A723-437D-8E4B-B870A232CB79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76" creationId="{24494BE8-FFBD-4E5D-972A-66570E851CFE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81" creationId="{8922C9D7-ADE3-4E9D-817B-D9EC7A9FCE64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82" creationId="{3188502E-D3A1-4619-8520-DBED94235407}"/>
          </ac:spMkLst>
        </pc:spChg>
        <pc:spChg chg="mod">
          <ac:chgData name="Tereza Mendes" userId="bb2291e0-f53c-426c-bc7e-e6da289e7b4f" providerId="ADAL" clId="{4BB3A8DB-64B7-407C-8A6E-1F9D0319BC4D}" dt="2021-01-11T19:45:49.898" v="1047" actId="1035"/>
          <ac:spMkLst>
            <pc:docMk/>
            <pc:sldMk cId="1217463327" sldId="8813"/>
            <ac:spMk id="83" creationId="{1C01FE5B-EBEC-441E-ABA9-79B777AA7D60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84" creationId="{0FC43344-8632-4466-80E4-AAA8322C1DDF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3" creationId="{17CF71CF-782C-4E4D-90BB-AC8FB0838E65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4" creationId="{68C5FCA6-E8C1-4D58-A5A2-438B99D5E5D3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5" creationId="{B6276178-A46F-4B7F-A970-AEF610D7B831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6" creationId="{C664B67C-F3CF-4C1B-B289-06741FF469A3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8" creationId="{CCF0E32E-6475-453D-928C-3371E83D2DA0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99" creationId="{66CB9F3B-A1B3-4640-AEBB-872ACEEFDA3F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100" creationId="{13BE3ABD-21B0-4FAD-8FB2-9D56F8217DBE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101" creationId="{E4D2A3F4-7651-4D0E-A098-C0CEC96EB310}"/>
          </ac:spMkLst>
        </pc:spChg>
        <pc:spChg chg="add mod">
          <ac:chgData name="Tereza Mendes" userId="bb2291e0-f53c-426c-bc7e-e6da289e7b4f" providerId="ADAL" clId="{4BB3A8DB-64B7-407C-8A6E-1F9D0319BC4D}" dt="2021-01-11T19:45:46.226" v="1041" actId="20577"/>
          <ac:spMkLst>
            <pc:docMk/>
            <pc:sldMk cId="1217463327" sldId="8813"/>
            <ac:spMk id="102" creationId="{0D95529C-341A-4EDB-87F2-419F76C890AD}"/>
          </ac:spMkLst>
        </pc:spChg>
        <pc:spChg chg="add">
          <ac:chgData name="Tereza Mendes" userId="bb2291e0-f53c-426c-bc7e-e6da289e7b4f" providerId="ADAL" clId="{4BB3A8DB-64B7-407C-8A6E-1F9D0319BC4D}" dt="2021-01-11T19:45:43.383" v="1033"/>
          <ac:spMkLst>
            <pc:docMk/>
            <pc:sldMk cId="1217463327" sldId="8813"/>
            <ac:spMk id="103" creationId="{462E54FA-6254-4529-BADE-229DF42D4D8B}"/>
          </ac:spMkLst>
        </pc:spChg>
        <pc:grpChg chg="del">
          <ac:chgData name="Tereza Mendes" userId="bb2291e0-f53c-426c-bc7e-e6da289e7b4f" providerId="ADAL" clId="{4BB3A8DB-64B7-407C-8A6E-1F9D0319BC4D}" dt="2021-01-11T19:46:02.512" v="1048" actId="478"/>
          <ac:grpSpMkLst>
            <pc:docMk/>
            <pc:sldMk cId="1217463327" sldId="8813"/>
            <ac:grpSpMk id="59" creationId="{5BE146CB-0A8C-47DC-9669-AA9A58EB4632}"/>
          </ac:grpSpMkLst>
        </pc:grpChg>
        <pc:grpChg chg="del">
          <ac:chgData name="Tereza Mendes" userId="bb2291e0-f53c-426c-bc7e-e6da289e7b4f" providerId="ADAL" clId="{4BB3A8DB-64B7-407C-8A6E-1F9D0319BC4D}" dt="2021-01-11T19:46:02.512" v="1048" actId="478"/>
          <ac:grpSpMkLst>
            <pc:docMk/>
            <pc:sldMk cId="1217463327" sldId="8813"/>
            <ac:grpSpMk id="85" creationId="{C19AE779-EC13-4320-A817-39E2DCD138F6}"/>
          </ac:grpSpMkLst>
        </pc:grpChg>
        <pc:grpChg chg="del">
          <ac:chgData name="Tereza Mendes" userId="bb2291e0-f53c-426c-bc7e-e6da289e7b4f" providerId="ADAL" clId="{4BB3A8DB-64B7-407C-8A6E-1F9D0319BC4D}" dt="2021-01-11T19:46:02.512" v="1048" actId="478"/>
          <ac:grpSpMkLst>
            <pc:docMk/>
            <pc:sldMk cId="1217463327" sldId="8813"/>
            <ac:grpSpMk id="89" creationId="{8E247661-4E3A-40D0-BFB5-8B293280D68A}"/>
          </ac:grpSpMkLst>
        </pc:grpChg>
        <pc:grpChg chg="add">
          <ac:chgData name="Tereza Mendes" userId="bb2291e0-f53c-426c-bc7e-e6da289e7b4f" providerId="ADAL" clId="{4BB3A8DB-64B7-407C-8A6E-1F9D0319BC4D}" dt="2021-01-11T19:46:03.615" v="1049"/>
          <ac:grpSpMkLst>
            <pc:docMk/>
            <pc:sldMk cId="1217463327" sldId="8813"/>
            <ac:grpSpMk id="104" creationId="{7B83C854-B234-4A4F-9830-B5BFA0A49946}"/>
          </ac:grpSpMkLst>
        </pc:grpChg>
        <pc:grpChg chg="add">
          <ac:chgData name="Tereza Mendes" userId="bb2291e0-f53c-426c-bc7e-e6da289e7b4f" providerId="ADAL" clId="{4BB3A8DB-64B7-407C-8A6E-1F9D0319BC4D}" dt="2021-01-11T19:46:03.615" v="1049"/>
          <ac:grpSpMkLst>
            <pc:docMk/>
            <pc:sldMk cId="1217463327" sldId="8813"/>
            <ac:grpSpMk id="108" creationId="{1FF0DCED-C5DE-4FA3-AC29-7D2032D00302}"/>
          </ac:grpSpMkLst>
        </pc:grpChg>
        <pc:grpChg chg="add">
          <ac:chgData name="Tereza Mendes" userId="bb2291e0-f53c-426c-bc7e-e6da289e7b4f" providerId="ADAL" clId="{4BB3A8DB-64B7-407C-8A6E-1F9D0319BC4D}" dt="2021-01-11T19:46:03.615" v="1049"/>
          <ac:grpSpMkLst>
            <pc:docMk/>
            <pc:sldMk cId="1217463327" sldId="8813"/>
            <ac:grpSpMk id="112" creationId="{08E7BB5C-3773-46EE-BD6F-7BA57D9A54C9}"/>
          </ac:grpSpMkLst>
        </pc:grpChg>
        <pc:graphicFrameChg chg="del mod modGraphic">
          <ac:chgData name="Tereza Mendes" userId="bb2291e0-f53c-426c-bc7e-e6da289e7b4f" providerId="ADAL" clId="{4BB3A8DB-64B7-407C-8A6E-1F9D0319BC4D}" dt="2021-01-11T19:37:33.278" v="781" actId="478"/>
          <ac:graphicFrameMkLst>
            <pc:docMk/>
            <pc:sldMk cId="1217463327" sldId="8813"/>
            <ac:graphicFrameMk id="60" creationId="{95F74F7E-C162-4B94-9980-BA41F9700C4C}"/>
          </ac:graphicFrameMkLst>
        </pc:graphicFrameChg>
        <pc:graphicFrameChg chg="add modGraphic">
          <ac:chgData name="Tereza Mendes" userId="bb2291e0-f53c-426c-bc7e-e6da289e7b4f" providerId="ADAL" clId="{4BB3A8DB-64B7-407C-8A6E-1F9D0319BC4D}" dt="2021-01-11T19:57:40.552" v="1234" actId="20577"/>
          <ac:graphicFrameMkLst>
            <pc:docMk/>
            <pc:sldMk cId="1217463327" sldId="8813"/>
            <ac:graphicFrameMk id="72" creationId="{8873D12B-D705-4978-8DEF-54E51B6AC481}"/>
          </ac:graphicFrameMkLst>
        </pc:graphicFrameChg>
        <pc:cxnChg chg="del">
          <ac:chgData name="Tereza Mendes" userId="bb2291e0-f53c-426c-bc7e-e6da289e7b4f" providerId="ADAL" clId="{4BB3A8DB-64B7-407C-8A6E-1F9D0319BC4D}" dt="2021-01-11T19:45:38.477" v="1032" actId="478"/>
          <ac:cxnSpMkLst>
            <pc:docMk/>
            <pc:sldMk cId="1217463327" sldId="8813"/>
            <ac:cxnSpMk id="49" creationId="{B2E08041-A30C-4C73-BE0F-61B177A194D5}"/>
          </ac:cxnSpMkLst>
        </pc:cxnChg>
        <pc:cxnChg chg="add">
          <ac:chgData name="Tereza Mendes" userId="bb2291e0-f53c-426c-bc7e-e6da289e7b4f" providerId="ADAL" clId="{4BB3A8DB-64B7-407C-8A6E-1F9D0319BC4D}" dt="2021-01-11T19:45:43.383" v="1033"/>
          <ac:cxnSpMkLst>
            <pc:docMk/>
            <pc:sldMk cId="1217463327" sldId="8813"/>
            <ac:cxnSpMk id="97" creationId="{4B65FA64-C123-47F7-B0D8-1E0736891B2C}"/>
          </ac:cxnSpMkLst>
        </pc:cxnChg>
      </pc:sldChg>
      <pc:sldChg chg="modSp add modTransition">
        <pc:chgData name="Tereza Mendes" userId="bb2291e0-f53c-426c-bc7e-e6da289e7b4f" providerId="ADAL" clId="{4BB3A8DB-64B7-407C-8A6E-1F9D0319BC4D}" dt="2021-01-11T19:47:13.803" v="1050"/>
        <pc:sldMkLst>
          <pc:docMk/>
          <pc:sldMk cId="2902032332" sldId="8814"/>
        </pc:sldMkLst>
        <pc:spChg chg="mod">
          <ac:chgData name="Tereza Mendes" userId="bb2291e0-f53c-426c-bc7e-e6da289e7b4f" providerId="ADAL" clId="{4BB3A8DB-64B7-407C-8A6E-1F9D0319BC4D}" dt="2021-01-11T12:29:09.056" v="20" actId="20577"/>
          <ac:spMkLst>
            <pc:docMk/>
            <pc:sldMk cId="2902032332" sldId="8814"/>
            <ac:spMk id="2" creationId="{E4065686-F7E1-4579-8528-CCDA6A8807B3}"/>
          </ac:spMkLst>
        </pc:spChg>
        <pc:spChg chg="mod">
          <ac:chgData name="Tereza Mendes" userId="bb2291e0-f53c-426c-bc7e-e6da289e7b4f" providerId="ADAL" clId="{4BB3A8DB-64B7-407C-8A6E-1F9D0319BC4D}" dt="2021-01-11T12:43:38.160" v="645" actId="1035"/>
          <ac:spMkLst>
            <pc:docMk/>
            <pc:sldMk cId="2902032332" sldId="8814"/>
            <ac:spMk id="24" creationId="{D1454E9C-AFC1-4492-841F-06D47B245A54}"/>
          </ac:spMkLst>
        </pc:spChg>
        <pc:spChg chg="mod">
          <ac:chgData name="Tereza Mendes" userId="bb2291e0-f53c-426c-bc7e-e6da289e7b4f" providerId="ADAL" clId="{4BB3A8DB-64B7-407C-8A6E-1F9D0319BC4D}" dt="2021-01-11T12:44:43.974" v="690" actId="13926"/>
          <ac:spMkLst>
            <pc:docMk/>
            <pc:sldMk cId="2902032332" sldId="8814"/>
            <ac:spMk id="34" creationId="{13B98DAC-4356-4A9A-BD8C-4EAF68F258AD}"/>
          </ac:spMkLst>
        </pc:spChg>
        <pc:spChg chg="mod">
          <ac:chgData name="Tereza Mendes" userId="bb2291e0-f53c-426c-bc7e-e6da289e7b4f" providerId="ADAL" clId="{4BB3A8DB-64B7-407C-8A6E-1F9D0319BC4D}" dt="2021-01-11T12:43:38.160" v="645" actId="1035"/>
          <ac:spMkLst>
            <pc:docMk/>
            <pc:sldMk cId="2902032332" sldId="8814"/>
            <ac:spMk id="35" creationId="{1706A8F9-E956-4CAC-BE2F-4C652246BE32}"/>
          </ac:spMkLst>
        </pc:spChg>
        <pc:spChg chg="mod">
          <ac:chgData name="Tereza Mendes" userId="bb2291e0-f53c-426c-bc7e-e6da289e7b4f" providerId="ADAL" clId="{4BB3A8DB-64B7-407C-8A6E-1F9D0319BC4D}" dt="2021-01-11T12:43:38.160" v="645" actId="1035"/>
          <ac:spMkLst>
            <pc:docMk/>
            <pc:sldMk cId="2902032332" sldId="8814"/>
            <ac:spMk id="36" creationId="{72EB498C-A1FD-4F6E-8930-44745C15D023}"/>
          </ac:spMkLst>
        </pc:spChg>
        <pc:spChg chg="mod">
          <ac:chgData name="Tereza Mendes" userId="bb2291e0-f53c-426c-bc7e-e6da289e7b4f" providerId="ADAL" clId="{4BB3A8DB-64B7-407C-8A6E-1F9D0319BC4D}" dt="2021-01-11T12:45:10.855" v="694" actId="14100"/>
          <ac:spMkLst>
            <pc:docMk/>
            <pc:sldMk cId="2902032332" sldId="8814"/>
            <ac:spMk id="38" creationId="{55C5EEAF-63B8-4762-A3EB-9A151742638D}"/>
          </ac:spMkLst>
        </pc:spChg>
        <pc:spChg chg="mod">
          <ac:chgData name="Tereza Mendes" userId="bb2291e0-f53c-426c-bc7e-e6da289e7b4f" providerId="ADAL" clId="{4BB3A8DB-64B7-407C-8A6E-1F9D0319BC4D}" dt="2021-01-11T12:29:35.390" v="25" actId="20577"/>
          <ac:spMkLst>
            <pc:docMk/>
            <pc:sldMk cId="2902032332" sldId="8814"/>
            <ac:spMk id="56" creationId="{0937C99F-7087-4FB0-98D0-DB2D96F1FEDC}"/>
          </ac:spMkLst>
        </pc:spChg>
        <pc:spChg chg="mod">
          <ac:chgData name="Tereza Mendes" userId="bb2291e0-f53c-426c-bc7e-e6da289e7b4f" providerId="ADAL" clId="{4BB3A8DB-64B7-407C-8A6E-1F9D0319BC4D}" dt="2021-01-11T12:29:49.161" v="28" actId="20577"/>
          <ac:spMkLst>
            <pc:docMk/>
            <pc:sldMk cId="2902032332" sldId="8814"/>
            <ac:spMk id="57" creationId="{607DFE4D-0CF2-4D5C-B238-F45ED141D961}"/>
          </ac:spMkLst>
        </pc:spChg>
        <pc:graphicFrameChg chg="modGraphic">
          <ac:chgData name="Tereza Mendes" userId="bb2291e0-f53c-426c-bc7e-e6da289e7b4f" providerId="ADAL" clId="{4BB3A8DB-64B7-407C-8A6E-1F9D0319BC4D}" dt="2021-01-11T12:45:52.488" v="722" actId="13926"/>
          <ac:graphicFrameMkLst>
            <pc:docMk/>
            <pc:sldMk cId="2902032332" sldId="8814"/>
            <ac:graphicFrameMk id="51" creationId="{73AF6B9E-17FF-4363-BDE7-369DD67BBDFE}"/>
          </ac:graphicFrameMkLst>
        </pc:graphicFrameChg>
      </pc:sldChg>
      <pc:sldChg chg="addSp delSp modSp add">
        <pc:chgData name="Tereza Mendes" userId="bb2291e0-f53c-426c-bc7e-e6da289e7b4f" providerId="ADAL" clId="{4BB3A8DB-64B7-407C-8A6E-1F9D0319BC4D}" dt="2021-01-11T19:58:59.179" v="1257" actId="20577"/>
        <pc:sldMkLst>
          <pc:docMk/>
          <pc:sldMk cId="4118331896" sldId="8815"/>
        </pc:sldMkLst>
        <pc:spChg chg="mod">
          <ac:chgData name="Tereza Mendes" userId="bb2291e0-f53c-426c-bc7e-e6da289e7b4f" providerId="ADAL" clId="{4BB3A8DB-64B7-407C-8A6E-1F9D0319BC4D}" dt="2021-01-11T19:49:20.157" v="1079" actId="404"/>
          <ac:spMkLst>
            <pc:docMk/>
            <pc:sldMk cId="4118331896" sldId="8815"/>
            <ac:spMk id="2" creationId="{E4065686-F7E1-4579-8528-CCDA6A8807B3}"/>
          </ac:spMkLst>
        </pc:spChg>
        <pc:spChg chg="mod">
          <ac:chgData name="Tereza Mendes" userId="bb2291e0-f53c-426c-bc7e-e6da289e7b4f" providerId="ADAL" clId="{4BB3A8DB-64B7-407C-8A6E-1F9D0319BC4D}" dt="2021-01-11T19:50:17.234" v="1142" actId="13926"/>
          <ac:spMkLst>
            <pc:docMk/>
            <pc:sldMk cId="4118331896" sldId="8815"/>
            <ac:spMk id="34" creationId="{13B98DAC-4356-4A9A-BD8C-4EAF68F258AD}"/>
          </ac:spMkLst>
        </pc:spChg>
        <pc:spChg chg="mod">
          <ac:chgData name="Tereza Mendes" userId="bb2291e0-f53c-426c-bc7e-e6da289e7b4f" providerId="ADAL" clId="{4BB3A8DB-64B7-407C-8A6E-1F9D0319BC4D}" dt="2021-01-11T19:49:52.955" v="1082" actId="20577"/>
          <ac:spMkLst>
            <pc:docMk/>
            <pc:sldMk cId="4118331896" sldId="8815"/>
            <ac:spMk id="35" creationId="{1706A8F9-E956-4CAC-BE2F-4C652246BE32}"/>
          </ac:spMkLst>
        </pc:spChg>
        <pc:spChg chg="mod">
          <ac:chgData name="Tereza Mendes" userId="bb2291e0-f53c-426c-bc7e-e6da289e7b4f" providerId="ADAL" clId="{4BB3A8DB-64B7-407C-8A6E-1F9D0319BC4D}" dt="2021-01-11T19:50:05.334" v="1141" actId="20577"/>
          <ac:spMkLst>
            <pc:docMk/>
            <pc:sldMk cId="4118331896" sldId="8815"/>
            <ac:spMk id="36" creationId="{72EB498C-A1FD-4F6E-8930-44745C15D023}"/>
          </ac:spMkLst>
        </pc:spChg>
        <pc:spChg chg="mod">
          <ac:chgData name="Tereza Mendes" userId="bb2291e0-f53c-426c-bc7e-e6da289e7b4f" providerId="ADAL" clId="{4BB3A8DB-64B7-407C-8A6E-1F9D0319BC4D}" dt="2021-01-11T19:51:30.868" v="1153" actId="20577"/>
          <ac:spMkLst>
            <pc:docMk/>
            <pc:sldMk cId="4118331896" sldId="8815"/>
            <ac:spMk id="56" creationId="{0937C99F-7087-4FB0-98D0-DB2D96F1FEDC}"/>
          </ac:spMkLst>
        </pc:spChg>
        <pc:spChg chg="mod">
          <ac:chgData name="Tereza Mendes" userId="bb2291e0-f53c-426c-bc7e-e6da289e7b4f" providerId="ADAL" clId="{4BB3A8DB-64B7-407C-8A6E-1F9D0319BC4D}" dt="2021-01-11T19:54:25.597" v="1224" actId="20577"/>
          <ac:spMkLst>
            <pc:docMk/>
            <pc:sldMk cId="4118331896" sldId="8815"/>
            <ac:spMk id="57" creationId="{607DFE4D-0CF2-4D5C-B238-F45ED141D961}"/>
          </ac:spMkLst>
        </pc:spChg>
        <pc:graphicFrameChg chg="add mod modGraphic">
          <ac:chgData name="Tereza Mendes" userId="bb2291e0-f53c-426c-bc7e-e6da289e7b4f" providerId="ADAL" clId="{4BB3A8DB-64B7-407C-8A6E-1F9D0319BC4D}" dt="2021-01-11T19:58:59.179" v="1257" actId="20577"/>
          <ac:graphicFrameMkLst>
            <pc:docMk/>
            <pc:sldMk cId="4118331896" sldId="8815"/>
            <ac:graphicFrameMk id="28" creationId="{978F8D5F-6F43-4D63-90B6-1E68EDD61F0B}"/>
          </ac:graphicFrameMkLst>
        </pc:graphicFrameChg>
        <pc:graphicFrameChg chg="del">
          <ac:chgData name="Tereza Mendes" userId="bb2291e0-f53c-426c-bc7e-e6da289e7b4f" providerId="ADAL" clId="{4BB3A8DB-64B7-407C-8A6E-1F9D0319BC4D}" dt="2021-01-11T19:50:46.455" v="1143" actId="478"/>
          <ac:graphicFrameMkLst>
            <pc:docMk/>
            <pc:sldMk cId="4118331896" sldId="8815"/>
            <ac:graphicFrameMk id="51" creationId="{73AF6B9E-17FF-4363-BDE7-369DD67BBDFE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C844D2-E4A9-4E94-BA61-E19E4338214B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510EC-5004-4A36-9047-660561C0C3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1811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Plano de ação em andament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riar comandos de iniciar e finalizar para o robô de enquadramento </a:t>
            </a:r>
            <a:r>
              <a:rPr lang="pt-BR" sz="1050" b="1" i="1" err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Clear</a:t>
            </a: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err="1"/>
              <a:t>On</a:t>
            </a:r>
            <a:r>
              <a:rPr lang="pt-BR" sz="1050"/>
              <a:t> </a:t>
            </a:r>
            <a:r>
              <a:rPr lang="pt-BR" sz="1050" err="1"/>
              <a:t>hold</a:t>
            </a:r>
            <a:r>
              <a:rPr lang="pt-BR" sz="105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/>
              <a:t>- </a:t>
            </a:r>
            <a:r>
              <a:rPr lang="pt-BR" sz="1050" b="1" i="1">
                <a:solidFill>
                  <a:prstClr val="white"/>
                </a:solidFill>
                <a:latin typeface="Segoe UI" panose="020B0502040204020203" pitchFamily="34" charset="0"/>
                <a:ea typeface="ＭＳ Ｐゴシック" pitchFamily="-110" charset="-128"/>
                <a:cs typeface="Segoe UI" panose="020B0502040204020203" pitchFamily="34" charset="0"/>
              </a:rPr>
              <a:t>Ajustar duplicação de TED conforme o processo de importação de saldo é execut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7750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b="1" i="1">
                <a:solidFill>
                  <a:prstClr val="black"/>
                </a:solidFill>
                <a:highlight>
                  <a:srgbClr val="F8CBAD"/>
                </a:highlight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Processo de Geração de logs para o MRP</a:t>
            </a:r>
            <a:r>
              <a:rPr lang="pt-BR" sz="1050" b="1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: 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Atividade manual que envolve a geração e extração de </a:t>
            </a:r>
            <a:r>
              <a:rPr lang="pt-BR" sz="1050" i="1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logfix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, log custódia e log de orde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 i="1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Para </a:t>
            </a:r>
            <a:r>
              <a:rPr lang="pt-BR" sz="1050" i="1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finance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 </a:t>
            </a:r>
            <a:r>
              <a:rPr lang="pt-BR" sz="1050" i="1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ops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, foram considerados os projetos de MR e alteração de status somente – Soma – 8,43 média 6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 i="1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Para informações de B2B </a:t>
            </a:r>
            <a:r>
              <a:rPr lang="pt-BR" sz="1050" i="1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Middle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 foram considerados somente os projetos Extração de relatórios </a:t>
            </a:r>
            <a:r>
              <a:rPr lang="pt-BR" sz="1050" i="1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Sinacor</a:t>
            </a:r>
            <a:r>
              <a:rPr lang="pt-BR" sz="1050" i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 e Extração de relatório RTC – Soma 2,03 – média 6,6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 i="1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05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510EC-5004-4A36-9047-660561C0C39C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7762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27F073-5336-4995-8AB9-144FF01C91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1C2849A-3FDB-43CD-8DAA-9EFC00BEA0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8B47853-F151-4FB6-A84D-1F4242487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CF7A94-EC78-4D43-A05E-47F3F18C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88B9268-00D2-408B-800B-BE27AD264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9043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BB5932-D249-43E6-9E84-878D65EA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942606B-43C8-4B8C-BB5B-1C43D061C4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11688A7-E7AA-44B2-B724-4F01282C7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7EAEEB6-C7E8-4F3D-82DC-FDB344E0B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A7ED5F7-AFAA-418C-8E4C-C03DDE2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4845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57CA3B1-0799-47CB-ABBB-373C89E16F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ADFE526-0CF9-4EDC-B63D-2589AB9C3E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3C95E16-332E-4E38-A313-0BC56796B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689EBB-FCFE-4AAB-9C76-03000B3E3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B3E1898-0CA7-4521-92B0-910465C7E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5611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- Ce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C5EDBF1-B59C-40D2-A340-1899425F4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C5EDBF1-B59C-40D2-A340-1899425F4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 hidden="1">
            <a:extLst>
              <a:ext uri="{FF2B5EF4-FFF2-40B4-BE49-F238E27FC236}">
                <a16:creationId xmlns:a16="http://schemas.microsoft.com/office/drawing/2014/main" id="{2D5AAC3F-9049-4F32-B1C9-F072AF52C29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812D1CB3-69C3-4BA1-9454-FEC92CF42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657" r="99326"/>
          <a:stretch/>
        </p:blipFill>
        <p:spPr>
          <a:xfrm rot="5400000">
            <a:off x="4381763" y="-3759460"/>
            <a:ext cx="72008" cy="8832304"/>
          </a:xfrm>
          <a:prstGeom prst="rect">
            <a:avLst/>
          </a:prstGeom>
        </p:spPr>
      </p:pic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83BCC1F4-BA31-4994-9A47-C9AC7EBA87A6}"/>
              </a:ext>
            </a:extLst>
          </p:cNvPr>
          <p:cNvCxnSpPr/>
          <p:nvPr userDrawn="1"/>
        </p:nvCxnSpPr>
        <p:spPr bwMode="auto">
          <a:xfrm>
            <a:off x="238229" y="188640"/>
            <a:ext cx="0" cy="320492"/>
          </a:xfrm>
          <a:prstGeom prst="line">
            <a:avLst/>
          </a:prstGeom>
          <a:noFill/>
          <a:ln w="57150" cap="flat" cmpd="sng" algn="ctr">
            <a:solidFill>
              <a:srgbClr val="0A17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ítulo 1">
            <a:extLst>
              <a:ext uri="{FF2B5EF4-FFF2-40B4-BE49-F238E27FC236}">
                <a16:creationId xmlns:a16="http://schemas.microsoft.com/office/drawing/2014/main" id="{17EF6857-5D40-464C-84D8-B4D11A0EA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7848872" cy="676436"/>
          </a:xfrm>
        </p:spPr>
        <p:txBody>
          <a:bodyPr>
            <a:normAutofit/>
          </a:bodyPr>
          <a:lstStyle>
            <a:lvl1pPr algn="l"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o estilo do título mestr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ACFB98C-8DD2-40C3-85A5-FA3B0840840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172380"/>
            <a:ext cx="1995650" cy="504056"/>
          </a:xfrm>
          <a:prstGeom prst="rect">
            <a:avLst/>
          </a:prstGeom>
        </p:spPr>
      </p:pic>
      <p:sp>
        <p:nvSpPr>
          <p:cNvPr id="8" name="Espaço Reservado para Texto 3">
            <a:extLst>
              <a:ext uri="{FF2B5EF4-FFF2-40B4-BE49-F238E27FC236}">
                <a16:creationId xmlns:a16="http://schemas.microsoft.com/office/drawing/2014/main" id="{696AB576-8012-419E-B0DE-4506A28639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703790"/>
            <a:ext cx="12192000" cy="492872"/>
          </a:xfr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800">
                <a:latin typeface="+mj-lt"/>
              </a:defRPr>
            </a:lvl1pPr>
            <a:lvl2pPr marL="317500" indent="0">
              <a:buNone/>
              <a:defRPr/>
            </a:lvl2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63841359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26619" cy="23053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35E55BF-73BF-954E-BD4A-E55ADE3034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720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513891-6EEA-4FD8-A715-10C4080E3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7AEF09E-1FA0-46C8-AF21-C261C782FF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10F4F42-EBAD-415F-A742-F3B003BE1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5C280C9-F3BF-4010-A45A-91CEBB798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D143FEB-B861-4F37-AA76-887955DFA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30700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810144-C424-4071-987F-031D4ECD6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98F3BBE-31C9-48E4-A37A-886772085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C489D5-CE7A-41A8-9165-806CAC7E1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372C4BB-7447-45A2-910D-C18B6E836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9D4C68F-2088-4BF4-B787-48A4C80BC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9332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EE0A21E-6EE4-4F1B-85A2-D7C4595FCF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B81F21-2400-4487-B37C-32CEC6C88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CA0ABB5-0965-4407-A25B-093CA6A6F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98E529A-80C5-4034-A391-2FF8B7CB2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AA1B017-EF71-4A62-B769-6998086BB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96191DB-8318-4C9C-BEB6-3654B14CB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695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484FDE-9C4E-4ED4-8441-748B98627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7CBE1DF-38A3-42A2-B628-8CC781EA60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DFBB259-4E0F-4A58-9963-903605C4F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E0A032B1-9824-4F25-8F98-29F8CDFDCF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1E5A47F-8597-431E-815D-E01AD4C797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9234876-8B54-4FB8-86DF-32FB28234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A7885AB-B1EF-4FE5-B58E-2731CE1A1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07DF881-DE6F-4F3F-935E-67602CB92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3526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264387-8371-4010-BB9D-CFE76C14C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0BEC815-331D-4F10-AA3C-478907924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2AC4D8D1-1CB4-431B-8C46-655E16A32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50FBE1F-B16E-47FA-96DC-57AC4FFE2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835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FAAC65F-838F-4314-93AC-481582A6E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1A97BEF-CB8B-4BF6-9DC4-EDBCE136A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62F10FB-04E0-48A1-AE87-3D8AB3723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08961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2E5681-C9C2-48C5-AF1A-7D3E42EE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A61ABC2-BA00-4868-BBDB-E18C7992B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D4CFF77-2259-43C9-A892-CCF328A013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D156430-A221-46C4-A322-0D5ED44BA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6D617B7-C067-4C6D-957F-DFE77B915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C1819C7-4F66-4F8E-B25A-ADCF163CB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9512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A18EF4-946C-4A48-BD36-502DD8ED6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4E7C001-233D-4ECA-8E7B-A3BF2C553D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C3FB3C4-22A7-432F-AA94-BE84AC8DF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0D1E9D8-17CB-45B5-9627-632A611CCC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3C81931-2218-4C48-ADFE-13227025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F2FFA8B-57FF-41E0-AFBA-E58ACCBC4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1658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7ED38A46-FF58-4AAD-B672-B5A4132AC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FE55BFB-74E2-4A50-8CC9-A7E7F7E338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F4D393-3CA8-4B17-AF77-6A7F24B46B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DA439F-1CF0-4F40-B94C-FD4C8C90C4D0}" type="datetimeFigureOut">
              <a:rPr lang="pt-BR" smtClean="0"/>
              <a:t>30/01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7D523F-4207-4DA3-9D18-FBBE95123F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120CD5A-3E10-4F88-9EAA-E23FFE677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7676C5-9027-4489-B7DE-C6A8C004B30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7593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razil's Leading Fintech"/>
          <p:cNvSpPr txBox="1"/>
          <p:nvPr/>
        </p:nvSpPr>
        <p:spPr>
          <a:xfrm>
            <a:off x="992386" y="2611898"/>
            <a:ext cx="6346609" cy="10361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t">
            <a:spAutoFit/>
          </a:bodyPr>
          <a:lstStyle/>
          <a:p>
            <a:pPr algn="l"/>
            <a:r>
              <a:rPr lang="pt-BR" sz="4800" b="1">
                <a:latin typeface="Segoe UI" panose="020B0502040204020203" pitchFamily="34" charset="0"/>
                <a:cs typeface="Segoe UI" panose="020B0502040204020203" pitchFamily="34" charset="0"/>
              </a:rPr>
              <a:t>Eficiência Corporativa</a:t>
            </a:r>
          </a:p>
          <a:p>
            <a:pPr algn="l"/>
            <a:r>
              <a:rPr lang="pt-BR" sz="1600" i="1">
                <a:latin typeface="Segoe UI" panose="020B0502040204020203" pitchFamily="34" charset="0"/>
                <a:cs typeface="Segoe UI" panose="020B0502040204020203" pitchFamily="34" charset="0"/>
              </a:rPr>
              <a:t>Comitê de Priorização</a:t>
            </a:r>
            <a:endParaRPr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logo_INC_01.png" descr="logo_INC_01.png">
            <a:extLst>
              <a:ext uri="{FF2B5EF4-FFF2-40B4-BE49-F238E27FC236}">
                <a16:creationId xmlns:a16="http://schemas.microsoft.com/office/drawing/2014/main" id="{4C467431-94B1-3447-897A-20701B58F5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137" t="32396" r="21251" b="29276"/>
          <a:stretch/>
        </p:blipFill>
        <p:spPr>
          <a:xfrm>
            <a:off x="992386" y="4983353"/>
            <a:ext cx="1774251" cy="44704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Brazil's Leading Fintech">
            <a:extLst>
              <a:ext uri="{FF2B5EF4-FFF2-40B4-BE49-F238E27FC236}">
                <a16:creationId xmlns:a16="http://schemas.microsoft.com/office/drawing/2014/main" id="{A9B5EE92-6EDD-F743-95B9-9C5A738E4F41}"/>
              </a:ext>
            </a:extLst>
          </p:cNvPr>
          <p:cNvSpPr txBox="1"/>
          <p:nvPr/>
        </p:nvSpPr>
        <p:spPr>
          <a:xfrm>
            <a:off x="10683038" y="296080"/>
            <a:ext cx="970971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t">
            <a:spAutoFit/>
          </a:bodyPr>
          <a:lstStyle/>
          <a:p>
            <a:pPr algn="l"/>
            <a:r>
              <a:rPr lang="pt-BR"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eiro 2020</a:t>
            </a:r>
            <a:endParaRPr sz="12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tângulo 85">
            <a:extLst>
              <a:ext uri="{FF2B5EF4-FFF2-40B4-BE49-F238E27FC236}">
                <a16:creationId xmlns:a16="http://schemas.microsoft.com/office/drawing/2014/main" id="{F6CF2ACB-21DB-4418-980D-863968A69D98}"/>
              </a:ext>
            </a:extLst>
          </p:cNvPr>
          <p:cNvSpPr/>
          <p:nvPr/>
        </p:nvSpPr>
        <p:spPr>
          <a:xfrm>
            <a:off x="6531134" y="3428805"/>
            <a:ext cx="5394413" cy="3429195"/>
          </a:xfrm>
          <a:prstGeom prst="rect">
            <a:avLst/>
          </a:prstGeom>
          <a:solidFill>
            <a:srgbClr val="FCE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1F255F0D-24A2-4E07-BD61-14269CE840CA}"/>
              </a:ext>
            </a:extLst>
          </p:cNvPr>
          <p:cNvSpPr/>
          <p:nvPr/>
        </p:nvSpPr>
        <p:spPr>
          <a:xfrm>
            <a:off x="7243197" y="3561265"/>
            <a:ext cx="4196588" cy="2762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3307382" cy="731754"/>
          </a:xfrm>
        </p:spPr>
        <p:txBody>
          <a:bodyPr/>
          <a:lstStyle/>
          <a:p>
            <a:r>
              <a:rPr lang="pt-BR" b="1" dirty="0">
                <a:latin typeface="Segoe UI" panose="020B0502040204020203" pitchFamily="34" charset="0"/>
                <a:cs typeface="Segoe UI" panose="020B0502040204020203" pitchFamily="34" charset="0"/>
              </a:rPr>
              <a:t>RESUMO EXECUTIVO</a:t>
            </a:r>
          </a:p>
        </p:txBody>
      </p:sp>
      <p:sp>
        <p:nvSpPr>
          <p:cNvPr id="4" name="Retângulo 38">
            <a:extLst>
              <a:ext uri="{FF2B5EF4-FFF2-40B4-BE49-F238E27FC236}">
                <a16:creationId xmlns:a16="http://schemas.microsoft.com/office/drawing/2014/main" id="{10E08392-B17D-4AFD-AA06-F4B2F5308414}"/>
              </a:ext>
            </a:extLst>
          </p:cNvPr>
          <p:cNvSpPr/>
          <p:nvPr/>
        </p:nvSpPr>
        <p:spPr>
          <a:xfrm rot="5400000">
            <a:off x="-2999068" y="3689928"/>
            <a:ext cx="6167140" cy="169008"/>
          </a:xfrm>
          <a:prstGeom prst="rect">
            <a:avLst/>
          </a:prstGeom>
          <a:solidFill>
            <a:srgbClr val="9AAF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3482" tIns="31741" rIns="63482" bIns="31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5FAA9B5E-5BC5-450C-9FE2-C5C73C99FB00}"/>
              </a:ext>
            </a:extLst>
          </p:cNvPr>
          <p:cNvSpPr txBox="1"/>
          <p:nvPr/>
        </p:nvSpPr>
        <p:spPr>
          <a:xfrm>
            <a:off x="4167886" y="6638897"/>
            <a:ext cx="1302500" cy="21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Iniciativas estruturantes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46CEDF37-3084-4DCE-B06F-58C3B59DC869}"/>
              </a:ext>
            </a:extLst>
          </p:cNvPr>
          <p:cNvSpPr txBox="1"/>
          <p:nvPr/>
        </p:nvSpPr>
        <p:spPr>
          <a:xfrm>
            <a:off x="3174534" y="6638895"/>
            <a:ext cx="11649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Quick Wins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C61B2CB8-D014-4528-9E2D-BCE3269758B2}"/>
              </a:ext>
            </a:extLst>
          </p:cNvPr>
          <p:cNvSpPr/>
          <p:nvPr/>
        </p:nvSpPr>
        <p:spPr>
          <a:xfrm>
            <a:off x="214863" y="6648320"/>
            <a:ext cx="62989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7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GENDA: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9B745BF4-148B-49D3-BDB0-67CD591B4D4F}"/>
              </a:ext>
            </a:extLst>
          </p:cNvPr>
          <p:cNvGrpSpPr/>
          <p:nvPr/>
        </p:nvGrpSpPr>
        <p:grpSpPr>
          <a:xfrm>
            <a:off x="6742757" y="3483609"/>
            <a:ext cx="4777368" cy="3327421"/>
            <a:chOff x="7037786" y="3483608"/>
            <a:chExt cx="4777368" cy="3327421"/>
          </a:xfrm>
        </p:grpSpPr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B18420D9-4D8B-4FF7-BDD1-0CF69F57DE81}"/>
                </a:ext>
              </a:extLst>
            </p:cNvPr>
            <p:cNvSpPr/>
            <p:nvPr/>
          </p:nvSpPr>
          <p:spPr>
            <a:xfrm>
              <a:off x="7538226" y="3580313"/>
              <a:ext cx="1380451" cy="903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5" name="Retângulo 44">
              <a:extLst>
                <a:ext uri="{FF2B5EF4-FFF2-40B4-BE49-F238E27FC236}">
                  <a16:creationId xmlns:a16="http://schemas.microsoft.com/office/drawing/2014/main" id="{17235E70-09A4-446B-853F-EDDDB89804B0}"/>
                </a:ext>
              </a:extLst>
            </p:cNvPr>
            <p:cNvSpPr/>
            <p:nvPr/>
          </p:nvSpPr>
          <p:spPr>
            <a:xfrm>
              <a:off x="8937927" y="3581000"/>
              <a:ext cx="1380451" cy="903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Retângulo 45">
              <a:extLst>
                <a:ext uri="{FF2B5EF4-FFF2-40B4-BE49-F238E27FC236}">
                  <a16:creationId xmlns:a16="http://schemas.microsoft.com/office/drawing/2014/main" id="{32D4E718-DC2E-4B27-AD40-F485566B306E}"/>
                </a:ext>
              </a:extLst>
            </p:cNvPr>
            <p:cNvSpPr/>
            <p:nvPr/>
          </p:nvSpPr>
          <p:spPr>
            <a:xfrm>
              <a:off x="10339025" y="3580313"/>
              <a:ext cx="1380451" cy="903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7" name="Retângulo 46">
              <a:extLst>
                <a:ext uri="{FF2B5EF4-FFF2-40B4-BE49-F238E27FC236}">
                  <a16:creationId xmlns:a16="http://schemas.microsoft.com/office/drawing/2014/main" id="{936A455C-8D05-4BEB-A6AF-F034012B7911}"/>
                </a:ext>
              </a:extLst>
            </p:cNvPr>
            <p:cNvSpPr/>
            <p:nvPr/>
          </p:nvSpPr>
          <p:spPr>
            <a:xfrm>
              <a:off x="7538226" y="4494815"/>
              <a:ext cx="1380451" cy="903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D7284F33-EA6D-4435-82F2-9358950EAAE1}"/>
                </a:ext>
              </a:extLst>
            </p:cNvPr>
            <p:cNvSpPr/>
            <p:nvPr/>
          </p:nvSpPr>
          <p:spPr>
            <a:xfrm>
              <a:off x="8937927" y="4500214"/>
              <a:ext cx="1380451" cy="903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B9A077D0-4CEE-4C33-8AD7-8F52C68756E4}"/>
                </a:ext>
              </a:extLst>
            </p:cNvPr>
            <p:cNvSpPr/>
            <p:nvPr/>
          </p:nvSpPr>
          <p:spPr>
            <a:xfrm>
              <a:off x="10337628" y="4500214"/>
              <a:ext cx="1380451" cy="903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1" name="Retângulo 50">
              <a:extLst>
                <a:ext uri="{FF2B5EF4-FFF2-40B4-BE49-F238E27FC236}">
                  <a16:creationId xmlns:a16="http://schemas.microsoft.com/office/drawing/2014/main" id="{05B73E95-7454-4CB8-8028-4A2077CC7D72}"/>
                </a:ext>
              </a:extLst>
            </p:cNvPr>
            <p:cNvSpPr/>
            <p:nvPr/>
          </p:nvSpPr>
          <p:spPr>
            <a:xfrm>
              <a:off x="7538226" y="5407946"/>
              <a:ext cx="1380451" cy="903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901F6FC1-CBAB-4F7F-B576-815226B67546}"/>
                </a:ext>
              </a:extLst>
            </p:cNvPr>
            <p:cNvSpPr/>
            <p:nvPr/>
          </p:nvSpPr>
          <p:spPr>
            <a:xfrm>
              <a:off x="8937927" y="5407946"/>
              <a:ext cx="1380451" cy="903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3" name="Retângulo 52">
              <a:extLst>
                <a:ext uri="{FF2B5EF4-FFF2-40B4-BE49-F238E27FC236}">
                  <a16:creationId xmlns:a16="http://schemas.microsoft.com/office/drawing/2014/main" id="{BA472FBE-E92C-4D4C-B665-9ECFAF8F5437}"/>
                </a:ext>
              </a:extLst>
            </p:cNvPr>
            <p:cNvSpPr/>
            <p:nvPr/>
          </p:nvSpPr>
          <p:spPr>
            <a:xfrm>
              <a:off x="10335877" y="5407946"/>
              <a:ext cx="1380451" cy="9034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1" name="Conector de Seta Reta 10">
              <a:extLst>
                <a:ext uri="{FF2B5EF4-FFF2-40B4-BE49-F238E27FC236}">
                  <a16:creationId xmlns:a16="http://schemas.microsoft.com/office/drawing/2014/main" id="{792339BF-4F53-4F11-8412-CD287D052A87}"/>
                </a:ext>
              </a:extLst>
            </p:cNvPr>
            <p:cNvCxnSpPr>
              <a:cxnSpLocks/>
            </p:cNvCxnSpPr>
            <p:nvPr/>
          </p:nvCxnSpPr>
          <p:spPr>
            <a:xfrm>
              <a:off x="7538226" y="6329238"/>
              <a:ext cx="4276928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de Seta Reta 57">
              <a:extLst>
                <a:ext uri="{FF2B5EF4-FFF2-40B4-BE49-F238E27FC236}">
                  <a16:creationId xmlns:a16="http://schemas.microsoft.com/office/drawing/2014/main" id="{069BD0FF-274B-4581-89B6-D153AF530F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28601" y="3491788"/>
              <a:ext cx="0" cy="284562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tângulo 60">
              <a:extLst>
                <a:ext uri="{FF2B5EF4-FFF2-40B4-BE49-F238E27FC236}">
                  <a16:creationId xmlns:a16="http://schemas.microsoft.com/office/drawing/2014/main" id="{8F033D96-E1CF-4ECC-B50B-B59353EA5E4E}"/>
                </a:ext>
              </a:extLst>
            </p:cNvPr>
            <p:cNvSpPr/>
            <p:nvPr/>
          </p:nvSpPr>
          <p:spPr>
            <a:xfrm rot="16200000">
              <a:off x="5771205" y="4808741"/>
              <a:ext cx="278707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1050" b="1" dirty="0">
                  <a:latin typeface="Segoe UI" panose="020B0502040204020203" pitchFamily="34" charset="0"/>
                  <a:cs typeface="Segoe UI" panose="020B0502040204020203" pitchFamily="34" charset="0"/>
                </a:rPr>
                <a:t>IMPACTO FINANCEIRO - PAYBACK</a:t>
              </a:r>
            </a:p>
          </p:txBody>
        </p:sp>
        <p:sp>
          <p:nvSpPr>
            <p:cNvPr id="62" name="Retângulo 61">
              <a:extLst>
                <a:ext uri="{FF2B5EF4-FFF2-40B4-BE49-F238E27FC236}">
                  <a16:creationId xmlns:a16="http://schemas.microsoft.com/office/drawing/2014/main" id="{F2862FA3-A93D-4652-B3F8-17A95E2FAAFD}"/>
                </a:ext>
              </a:extLst>
            </p:cNvPr>
            <p:cNvSpPr/>
            <p:nvPr/>
          </p:nvSpPr>
          <p:spPr>
            <a:xfrm rot="16200000">
              <a:off x="6939881" y="5753176"/>
              <a:ext cx="92129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1 A 6 MESES</a:t>
              </a:r>
            </a:p>
          </p:txBody>
        </p:sp>
        <p:sp>
          <p:nvSpPr>
            <p:cNvPr id="63" name="Retângulo 62">
              <a:extLst>
                <a:ext uri="{FF2B5EF4-FFF2-40B4-BE49-F238E27FC236}">
                  <a16:creationId xmlns:a16="http://schemas.microsoft.com/office/drawing/2014/main" id="{9B934DA4-C556-4E18-98A1-C16497C5F566}"/>
                </a:ext>
              </a:extLst>
            </p:cNvPr>
            <p:cNvSpPr/>
            <p:nvPr/>
          </p:nvSpPr>
          <p:spPr>
            <a:xfrm rot="16200000">
              <a:off x="6939881" y="4831883"/>
              <a:ext cx="92129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6 A 12 MESES</a:t>
              </a:r>
            </a:p>
          </p:txBody>
        </p:sp>
        <p:sp>
          <p:nvSpPr>
            <p:cNvPr id="67" name="Retângulo 66">
              <a:extLst>
                <a:ext uri="{FF2B5EF4-FFF2-40B4-BE49-F238E27FC236}">
                  <a16:creationId xmlns:a16="http://schemas.microsoft.com/office/drawing/2014/main" id="{F8E2DBA4-F6C8-42E2-989C-B85F50D12630}"/>
                </a:ext>
              </a:extLst>
            </p:cNvPr>
            <p:cNvSpPr/>
            <p:nvPr/>
          </p:nvSpPr>
          <p:spPr>
            <a:xfrm rot="16200000">
              <a:off x="6901054" y="3867665"/>
              <a:ext cx="998946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12 A 18 MESES</a:t>
              </a:r>
            </a:p>
          </p:txBody>
        </p:sp>
        <p:sp>
          <p:nvSpPr>
            <p:cNvPr id="68" name="Retângulo 67">
              <a:extLst>
                <a:ext uri="{FF2B5EF4-FFF2-40B4-BE49-F238E27FC236}">
                  <a16:creationId xmlns:a16="http://schemas.microsoft.com/office/drawing/2014/main" id="{214DA3BC-3096-40ED-A081-ADCBBFCD3FAF}"/>
                </a:ext>
              </a:extLst>
            </p:cNvPr>
            <p:cNvSpPr/>
            <p:nvPr/>
          </p:nvSpPr>
          <p:spPr>
            <a:xfrm>
              <a:off x="7970025" y="6557113"/>
              <a:ext cx="3316253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1050" b="1" dirty="0">
                  <a:latin typeface="Segoe UI" panose="020B0502040204020203" pitchFamily="34" charset="0"/>
                  <a:cs typeface="Segoe UI" panose="020B0502040204020203" pitchFamily="34" charset="0"/>
                </a:rPr>
                <a:t>COMPLEXIDADE DE IMPLANTAÇÃO - ESFORÇO</a:t>
              </a:r>
            </a:p>
          </p:txBody>
        </p:sp>
        <p:sp>
          <p:nvSpPr>
            <p:cNvPr id="70" name="Retângulo 69">
              <a:extLst>
                <a:ext uri="{FF2B5EF4-FFF2-40B4-BE49-F238E27FC236}">
                  <a16:creationId xmlns:a16="http://schemas.microsoft.com/office/drawing/2014/main" id="{B1B4380F-2213-49F1-A80F-85C2C55052DA}"/>
                </a:ext>
              </a:extLst>
            </p:cNvPr>
            <p:cNvSpPr/>
            <p:nvPr/>
          </p:nvSpPr>
          <p:spPr>
            <a:xfrm>
              <a:off x="7667517" y="6347125"/>
              <a:ext cx="112809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ATÉ 160 PONTOS</a:t>
              </a:r>
            </a:p>
          </p:txBody>
        </p:sp>
        <p:sp>
          <p:nvSpPr>
            <p:cNvPr id="71" name="Retângulo 70">
              <a:extLst>
                <a:ext uri="{FF2B5EF4-FFF2-40B4-BE49-F238E27FC236}">
                  <a16:creationId xmlns:a16="http://schemas.microsoft.com/office/drawing/2014/main" id="{E37BA5B6-5C66-412E-AC29-3B1D457B5961}"/>
                </a:ext>
              </a:extLst>
            </p:cNvPr>
            <p:cNvSpPr/>
            <p:nvPr/>
          </p:nvSpPr>
          <p:spPr>
            <a:xfrm>
              <a:off x="8931123" y="6337385"/>
              <a:ext cx="139655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DE 160 A 240 PONTOS</a:t>
              </a:r>
            </a:p>
          </p:txBody>
        </p:sp>
        <p:sp>
          <p:nvSpPr>
            <p:cNvPr id="72" name="Retângulo 71">
              <a:extLst>
                <a:ext uri="{FF2B5EF4-FFF2-40B4-BE49-F238E27FC236}">
                  <a16:creationId xmlns:a16="http://schemas.microsoft.com/office/drawing/2014/main" id="{EEE4EBA0-DC80-47F3-BEDE-A27DC749CCC1}"/>
                </a:ext>
              </a:extLst>
            </p:cNvPr>
            <p:cNvSpPr/>
            <p:nvPr/>
          </p:nvSpPr>
          <p:spPr>
            <a:xfrm>
              <a:off x="10321524" y="6345531"/>
              <a:ext cx="1396555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dirty="0">
                  <a:latin typeface="Segoe UI" panose="020B0502040204020203" pitchFamily="34" charset="0"/>
                  <a:cs typeface="Segoe UI" panose="020B0502040204020203" pitchFamily="34" charset="0"/>
                </a:rPr>
                <a:t>DE 240 A 320 PONTOS</a:t>
              </a:r>
            </a:p>
          </p:txBody>
        </p: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84020D28-56E6-4BDA-9DB0-3F66CCBA7267}"/>
              </a:ext>
            </a:extLst>
          </p:cNvPr>
          <p:cNvGrpSpPr/>
          <p:nvPr/>
        </p:nvGrpSpPr>
        <p:grpSpPr>
          <a:xfrm>
            <a:off x="10862106" y="5831805"/>
            <a:ext cx="449363" cy="348620"/>
            <a:chOff x="3319181" y="4302491"/>
            <a:chExt cx="545897" cy="423512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59EC85AA-2A15-4C7C-AD56-12998362F626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60" name="Retângulo 59">
              <a:extLst>
                <a:ext uri="{FF2B5EF4-FFF2-40B4-BE49-F238E27FC236}">
                  <a16:creationId xmlns:a16="http://schemas.microsoft.com/office/drawing/2014/main" id="{ABF1D453-AD1D-4A36-AE12-B6C9B86DBF05}"/>
                </a:ext>
              </a:extLst>
            </p:cNvPr>
            <p:cNvSpPr/>
            <p:nvPr/>
          </p:nvSpPr>
          <p:spPr>
            <a:xfrm>
              <a:off x="3319181" y="4384340"/>
              <a:ext cx="54589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57</a:t>
              </a:r>
            </a:p>
          </p:txBody>
        </p:sp>
      </p:grpSp>
      <p:grpSp>
        <p:nvGrpSpPr>
          <p:cNvPr id="73" name="Agrupar 72">
            <a:extLst>
              <a:ext uri="{FF2B5EF4-FFF2-40B4-BE49-F238E27FC236}">
                <a16:creationId xmlns:a16="http://schemas.microsoft.com/office/drawing/2014/main" id="{27248AF2-6282-4577-9933-104982005542}"/>
              </a:ext>
            </a:extLst>
          </p:cNvPr>
          <p:cNvGrpSpPr/>
          <p:nvPr/>
        </p:nvGrpSpPr>
        <p:grpSpPr>
          <a:xfrm>
            <a:off x="9393712" y="4755568"/>
            <a:ext cx="449363" cy="348620"/>
            <a:chOff x="3319181" y="4302491"/>
            <a:chExt cx="545897" cy="423512"/>
          </a:xfrm>
        </p:grpSpPr>
        <p:sp>
          <p:nvSpPr>
            <p:cNvPr id="74" name="Elipse 73">
              <a:extLst>
                <a:ext uri="{FF2B5EF4-FFF2-40B4-BE49-F238E27FC236}">
                  <a16:creationId xmlns:a16="http://schemas.microsoft.com/office/drawing/2014/main" id="{498AC215-D8D4-4D46-80BF-922D3B2AEE60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75" name="Retângulo 74">
              <a:extLst>
                <a:ext uri="{FF2B5EF4-FFF2-40B4-BE49-F238E27FC236}">
                  <a16:creationId xmlns:a16="http://schemas.microsoft.com/office/drawing/2014/main" id="{DD2EFAB9-C24D-4EF5-AB1C-961CD4676336}"/>
                </a:ext>
              </a:extLst>
            </p:cNvPr>
            <p:cNvSpPr/>
            <p:nvPr/>
          </p:nvSpPr>
          <p:spPr>
            <a:xfrm>
              <a:off x="3319181" y="4384340"/>
              <a:ext cx="545897" cy="280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32</a:t>
              </a:r>
            </a:p>
          </p:txBody>
        </p:sp>
      </p:grpSp>
      <p:grpSp>
        <p:nvGrpSpPr>
          <p:cNvPr id="76" name="Agrupar 75">
            <a:extLst>
              <a:ext uri="{FF2B5EF4-FFF2-40B4-BE49-F238E27FC236}">
                <a16:creationId xmlns:a16="http://schemas.microsoft.com/office/drawing/2014/main" id="{CB7C2FCE-4CAF-4DB2-A714-70B84C303EAC}"/>
              </a:ext>
            </a:extLst>
          </p:cNvPr>
          <p:cNvGrpSpPr/>
          <p:nvPr/>
        </p:nvGrpSpPr>
        <p:grpSpPr>
          <a:xfrm>
            <a:off x="8655816" y="4741927"/>
            <a:ext cx="449363" cy="348620"/>
            <a:chOff x="3319181" y="4302491"/>
            <a:chExt cx="545897" cy="423512"/>
          </a:xfrm>
        </p:grpSpPr>
        <p:sp>
          <p:nvSpPr>
            <p:cNvPr id="77" name="Elipse 76">
              <a:extLst>
                <a:ext uri="{FF2B5EF4-FFF2-40B4-BE49-F238E27FC236}">
                  <a16:creationId xmlns:a16="http://schemas.microsoft.com/office/drawing/2014/main" id="{936C8BEC-6CD6-4E41-9979-854B3BBCD4CE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78" name="Retângulo 77">
              <a:extLst>
                <a:ext uri="{FF2B5EF4-FFF2-40B4-BE49-F238E27FC236}">
                  <a16:creationId xmlns:a16="http://schemas.microsoft.com/office/drawing/2014/main" id="{DD01E0DC-CA52-4D2A-A70F-5AC281CE44B8}"/>
                </a:ext>
              </a:extLst>
            </p:cNvPr>
            <p:cNvSpPr/>
            <p:nvPr/>
          </p:nvSpPr>
          <p:spPr>
            <a:xfrm>
              <a:off x="3319181" y="4384340"/>
              <a:ext cx="545897" cy="280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23</a:t>
              </a:r>
            </a:p>
          </p:txBody>
        </p:sp>
      </p:grpSp>
      <p:sp>
        <p:nvSpPr>
          <p:cNvPr id="12" name="Triângulo isósceles 11">
            <a:extLst>
              <a:ext uri="{FF2B5EF4-FFF2-40B4-BE49-F238E27FC236}">
                <a16:creationId xmlns:a16="http://schemas.microsoft.com/office/drawing/2014/main" id="{1B6A6D0B-0DC8-4145-80A2-8EE50B778E69}"/>
              </a:ext>
            </a:extLst>
          </p:cNvPr>
          <p:cNvSpPr/>
          <p:nvPr/>
        </p:nvSpPr>
        <p:spPr>
          <a:xfrm rot="5400000">
            <a:off x="4748339" y="4770683"/>
            <a:ext cx="2560054" cy="51679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9" name="Retângulo 78">
            <a:extLst>
              <a:ext uri="{FF2B5EF4-FFF2-40B4-BE49-F238E27FC236}">
                <a16:creationId xmlns:a16="http://schemas.microsoft.com/office/drawing/2014/main" id="{A22CA035-20C0-4E2F-A559-24EE4B21A205}"/>
              </a:ext>
            </a:extLst>
          </p:cNvPr>
          <p:cNvSpPr/>
          <p:nvPr/>
        </p:nvSpPr>
        <p:spPr>
          <a:xfrm>
            <a:off x="410445" y="3757007"/>
            <a:ext cx="5360148" cy="25520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0" name="Retângulo 79">
            <a:extLst>
              <a:ext uri="{FF2B5EF4-FFF2-40B4-BE49-F238E27FC236}">
                <a16:creationId xmlns:a16="http://schemas.microsoft.com/office/drawing/2014/main" id="{93B93C30-F7D5-4161-A62F-599AB2E53613}"/>
              </a:ext>
            </a:extLst>
          </p:cNvPr>
          <p:cNvSpPr/>
          <p:nvPr/>
        </p:nvSpPr>
        <p:spPr>
          <a:xfrm>
            <a:off x="441425" y="3857159"/>
            <a:ext cx="220457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50" b="1" i="1" dirty="0">
                <a:solidFill>
                  <a:schemeClr val="bg1"/>
                </a:solidFill>
                <a:highlight>
                  <a:srgbClr val="44546A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Critérios de classificação</a:t>
            </a:r>
          </a:p>
        </p:txBody>
      </p:sp>
      <p:sp>
        <p:nvSpPr>
          <p:cNvPr id="90" name="Retângulo 89">
            <a:extLst>
              <a:ext uri="{FF2B5EF4-FFF2-40B4-BE49-F238E27FC236}">
                <a16:creationId xmlns:a16="http://schemas.microsoft.com/office/drawing/2014/main" id="{29B9E17A-FC7A-4C88-AED2-7E4F662F4145}"/>
              </a:ext>
            </a:extLst>
          </p:cNvPr>
          <p:cNvSpPr/>
          <p:nvPr/>
        </p:nvSpPr>
        <p:spPr>
          <a:xfrm>
            <a:off x="654774" y="4193488"/>
            <a:ext cx="135973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50" b="1" i="1" dirty="0">
                <a:latin typeface="Segoe UI" panose="020B0502040204020203" pitchFamily="34" charset="0"/>
                <a:cs typeface="Segoe UI" panose="020B0502040204020203" pitchFamily="34" charset="0"/>
              </a:rPr>
              <a:t>Complexidade de implantação: </a:t>
            </a:r>
            <a:r>
              <a:rPr lang="pt-BR" sz="1050" i="1" dirty="0">
                <a:latin typeface="Segoe UI" panose="020B0502040204020203" pitchFamily="34" charset="0"/>
                <a:cs typeface="Segoe UI" panose="020B0502040204020203" pitchFamily="34" charset="0"/>
              </a:rPr>
              <a:t>Esforç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CD6BF0FD-5CEA-4726-A058-0AE46288837B}"/>
              </a:ext>
            </a:extLst>
          </p:cNvPr>
          <p:cNvSpPr/>
          <p:nvPr/>
        </p:nvSpPr>
        <p:spPr>
          <a:xfrm>
            <a:off x="2300452" y="4193488"/>
            <a:ext cx="1203355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00" b="1" i="1" dirty="0">
                <a:latin typeface="Segoe UI" panose="020B0502040204020203" pitchFamily="34" charset="0"/>
                <a:cs typeface="Segoe UI" panose="020B0502040204020203" pitchFamily="34" charset="0"/>
              </a:rPr>
              <a:t>Avaliação</a:t>
            </a: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</a:p>
          <a:p>
            <a:pPr>
              <a:spcBef>
                <a:spcPts val="300"/>
              </a:spcBef>
              <a:defRPr/>
            </a:pP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time de Desenvolvimento </a:t>
            </a: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8A50A096-F2AC-4C2D-AEFE-0AA2690717B4}"/>
              </a:ext>
            </a:extLst>
          </p:cNvPr>
          <p:cNvSpPr/>
          <p:nvPr/>
        </p:nvSpPr>
        <p:spPr>
          <a:xfrm>
            <a:off x="3779943" y="4194643"/>
            <a:ext cx="143361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00" b="1" i="1" dirty="0">
                <a:latin typeface="Segoe UI" panose="020B0502040204020203" pitchFamily="34" charset="0"/>
                <a:cs typeface="Segoe UI" panose="020B0502040204020203" pitchFamily="34" charset="0"/>
              </a:rPr>
              <a:t>Racional</a:t>
            </a: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38927109-8445-432B-BF2A-75F08FED51A7}"/>
              </a:ext>
            </a:extLst>
          </p:cNvPr>
          <p:cNvSpPr txBox="1"/>
          <p:nvPr/>
        </p:nvSpPr>
        <p:spPr>
          <a:xfrm>
            <a:off x="1034322" y="6638895"/>
            <a:ext cx="7354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A priorizar</a:t>
            </a:r>
          </a:p>
        </p:txBody>
      </p: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68677E4F-5B57-45D9-AE3F-251ED7B72D48}"/>
              </a:ext>
            </a:extLst>
          </p:cNvPr>
          <p:cNvGrpSpPr/>
          <p:nvPr/>
        </p:nvGrpSpPr>
        <p:grpSpPr>
          <a:xfrm>
            <a:off x="9399458" y="5462414"/>
            <a:ext cx="449363" cy="348620"/>
            <a:chOff x="3319181" y="4302491"/>
            <a:chExt cx="545897" cy="423512"/>
          </a:xfrm>
        </p:grpSpPr>
        <p:sp>
          <p:nvSpPr>
            <p:cNvPr id="81" name="Elipse 80">
              <a:extLst>
                <a:ext uri="{FF2B5EF4-FFF2-40B4-BE49-F238E27FC236}">
                  <a16:creationId xmlns:a16="http://schemas.microsoft.com/office/drawing/2014/main" id="{998EDF9F-8260-4100-B89E-87CB09FBCD13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82" name="Retângulo 81">
              <a:extLst>
                <a:ext uri="{FF2B5EF4-FFF2-40B4-BE49-F238E27FC236}">
                  <a16:creationId xmlns:a16="http://schemas.microsoft.com/office/drawing/2014/main" id="{12C0A543-43FD-4EF9-9FC5-82845A37A13A}"/>
                </a:ext>
              </a:extLst>
            </p:cNvPr>
            <p:cNvSpPr/>
            <p:nvPr/>
          </p:nvSpPr>
          <p:spPr>
            <a:xfrm>
              <a:off x="3319181" y="4384340"/>
              <a:ext cx="545897" cy="280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20</a:t>
              </a:r>
            </a:p>
          </p:txBody>
        </p:sp>
      </p:grpSp>
      <p:sp>
        <p:nvSpPr>
          <p:cNvPr id="85" name="Retângulo: Cantos Arredondados 84">
            <a:extLst>
              <a:ext uri="{FF2B5EF4-FFF2-40B4-BE49-F238E27FC236}">
                <a16:creationId xmlns:a16="http://schemas.microsoft.com/office/drawing/2014/main" id="{7163B114-4BBA-470B-8469-D701538ED2D0}"/>
              </a:ext>
            </a:extLst>
          </p:cNvPr>
          <p:cNvSpPr/>
          <p:nvPr/>
        </p:nvSpPr>
        <p:spPr>
          <a:xfrm>
            <a:off x="334278" y="901912"/>
            <a:ext cx="2530798" cy="33161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b="1" i="1" dirty="0">
                <a:solidFill>
                  <a:schemeClr val="bg1"/>
                </a:solidFill>
                <a:highlight>
                  <a:srgbClr val="F4B183"/>
                </a:highlight>
                <a:latin typeface="Segoe UI"/>
                <a:cs typeface="Segoe UI"/>
              </a:rPr>
              <a:t>INICIATIVAS MAPEADAS</a:t>
            </a:r>
            <a:endParaRPr lang="pt-BR" sz="1400" i="1" dirty="0">
              <a:solidFill>
                <a:schemeClr val="bg1"/>
              </a:solidFill>
              <a:highlight>
                <a:srgbClr val="F4B183"/>
              </a:highligh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2108B671-A950-4A2C-84BE-2D566FA39CC5}"/>
              </a:ext>
            </a:extLst>
          </p:cNvPr>
          <p:cNvSpPr/>
          <p:nvPr/>
        </p:nvSpPr>
        <p:spPr>
          <a:xfrm>
            <a:off x="798882" y="6673703"/>
            <a:ext cx="265814" cy="130438"/>
          </a:xfrm>
          <a:prstGeom prst="rect">
            <a:avLst/>
          </a:prstGeom>
          <a:solidFill>
            <a:srgbClr val="F4B183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D2307FC7-D054-493D-80B1-C7BD7907D6E2}"/>
              </a:ext>
            </a:extLst>
          </p:cNvPr>
          <p:cNvSpPr/>
          <p:nvPr/>
        </p:nvSpPr>
        <p:spPr>
          <a:xfrm>
            <a:off x="3929499" y="6671384"/>
            <a:ext cx="265814" cy="130438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tângulo 90">
            <a:extLst>
              <a:ext uri="{FF2B5EF4-FFF2-40B4-BE49-F238E27FC236}">
                <a16:creationId xmlns:a16="http://schemas.microsoft.com/office/drawing/2014/main" id="{4FA65AE4-D46B-4AEF-B2F6-C6079E791ABE}"/>
              </a:ext>
            </a:extLst>
          </p:cNvPr>
          <p:cNvSpPr/>
          <p:nvPr/>
        </p:nvSpPr>
        <p:spPr>
          <a:xfrm>
            <a:off x="2933375" y="6671384"/>
            <a:ext cx="265814" cy="1304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tângulo 64">
            <a:extLst>
              <a:ext uri="{FF2B5EF4-FFF2-40B4-BE49-F238E27FC236}">
                <a16:creationId xmlns:a16="http://schemas.microsoft.com/office/drawing/2014/main" id="{9B59A684-7C71-4B26-8F54-8F5F0CEE7B36}"/>
              </a:ext>
            </a:extLst>
          </p:cNvPr>
          <p:cNvSpPr/>
          <p:nvPr/>
        </p:nvSpPr>
        <p:spPr>
          <a:xfrm>
            <a:off x="648529" y="5486634"/>
            <a:ext cx="14186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50" b="1" i="1" dirty="0">
                <a:latin typeface="Segoe UI" panose="020B0502040204020203" pitchFamily="34" charset="0"/>
                <a:cs typeface="Segoe UI" panose="020B0502040204020203" pitchFamily="34" charset="0"/>
              </a:rPr>
              <a:t>Impacto financeiro: </a:t>
            </a:r>
            <a:r>
              <a:rPr lang="pt-BR" sz="1050" i="1" dirty="0">
                <a:latin typeface="Segoe UI" panose="020B0502040204020203" pitchFamily="34" charset="0"/>
                <a:cs typeface="Segoe UI" panose="020B0502040204020203" pitchFamily="34" charset="0"/>
              </a:rPr>
              <a:t>Payback</a:t>
            </a:r>
          </a:p>
        </p:txBody>
      </p:sp>
      <p:sp>
        <p:nvSpPr>
          <p:cNvPr id="83" name="Retângulo 82">
            <a:extLst>
              <a:ext uri="{FF2B5EF4-FFF2-40B4-BE49-F238E27FC236}">
                <a16:creationId xmlns:a16="http://schemas.microsoft.com/office/drawing/2014/main" id="{276AB341-3062-44C0-A4D9-7F16791ED64F}"/>
              </a:ext>
            </a:extLst>
          </p:cNvPr>
          <p:cNvSpPr/>
          <p:nvPr/>
        </p:nvSpPr>
        <p:spPr>
          <a:xfrm>
            <a:off x="2303733" y="5486634"/>
            <a:ext cx="120449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00" b="1" i="1" dirty="0">
                <a:latin typeface="Segoe UI" panose="020B0502040204020203" pitchFamily="34" charset="0"/>
                <a:cs typeface="Segoe UI" panose="020B0502040204020203" pitchFamily="34" charset="0"/>
              </a:rPr>
              <a:t>Avaliação</a:t>
            </a: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</a:p>
          <a:p>
            <a:pPr>
              <a:spcBef>
                <a:spcPts val="300"/>
              </a:spcBef>
              <a:defRPr/>
            </a:pP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time de Eficiência </a:t>
            </a:r>
          </a:p>
        </p:txBody>
      </p:sp>
      <p:cxnSp>
        <p:nvCxnSpPr>
          <p:cNvPr id="84" name="Conector reto 83">
            <a:extLst>
              <a:ext uri="{FF2B5EF4-FFF2-40B4-BE49-F238E27FC236}">
                <a16:creationId xmlns:a16="http://schemas.microsoft.com/office/drawing/2014/main" id="{4954B169-813F-4D9C-ACDD-624C231BC9A1}"/>
              </a:ext>
            </a:extLst>
          </p:cNvPr>
          <p:cNvCxnSpPr>
            <a:cxnSpLocks/>
          </p:cNvCxnSpPr>
          <p:nvPr/>
        </p:nvCxnSpPr>
        <p:spPr>
          <a:xfrm>
            <a:off x="2191169" y="5566045"/>
            <a:ext cx="0" cy="57636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to 93">
            <a:extLst>
              <a:ext uri="{FF2B5EF4-FFF2-40B4-BE49-F238E27FC236}">
                <a16:creationId xmlns:a16="http://schemas.microsoft.com/office/drawing/2014/main" id="{9B1E768B-2090-45CF-AA7F-402D25FDDC26}"/>
              </a:ext>
            </a:extLst>
          </p:cNvPr>
          <p:cNvCxnSpPr>
            <a:cxnSpLocks/>
          </p:cNvCxnSpPr>
          <p:nvPr/>
        </p:nvCxnSpPr>
        <p:spPr>
          <a:xfrm>
            <a:off x="3670952" y="5562988"/>
            <a:ext cx="0" cy="59658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tângulo 94">
            <a:extLst>
              <a:ext uri="{FF2B5EF4-FFF2-40B4-BE49-F238E27FC236}">
                <a16:creationId xmlns:a16="http://schemas.microsoft.com/office/drawing/2014/main" id="{C8EFE77E-BC12-46BC-A15E-77D5B399E9D7}"/>
              </a:ext>
            </a:extLst>
          </p:cNvPr>
          <p:cNvSpPr/>
          <p:nvPr/>
        </p:nvSpPr>
        <p:spPr>
          <a:xfrm>
            <a:off x="3792749" y="5487789"/>
            <a:ext cx="143361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1000" b="1" i="1" dirty="0">
                <a:latin typeface="Segoe UI" panose="020B0502040204020203" pitchFamily="34" charset="0"/>
                <a:cs typeface="Segoe UI" panose="020B0502040204020203" pitchFamily="34" charset="0"/>
              </a:rPr>
              <a:t>Racional</a:t>
            </a:r>
            <a:r>
              <a:rPr lang="pt-BR" sz="1000" i="1" dirty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id="{977D33B9-6856-43B7-89EF-0D8E0E4184BB}"/>
              </a:ext>
            </a:extLst>
          </p:cNvPr>
          <p:cNvSpPr/>
          <p:nvPr/>
        </p:nvSpPr>
        <p:spPr>
          <a:xfrm>
            <a:off x="4558799" y="5496937"/>
            <a:ext cx="119772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i="1" dirty="0"/>
              <a:t>Quanto </a:t>
            </a:r>
            <a:r>
              <a:rPr lang="pt-BR" sz="800" b="1" i="1" dirty="0"/>
              <a:t>menor</a:t>
            </a:r>
            <a:r>
              <a:rPr lang="pt-BR" sz="800" i="1" dirty="0"/>
              <a:t>, melhor</a:t>
            </a:r>
          </a:p>
        </p:txBody>
      </p:sp>
      <p:cxnSp>
        <p:nvCxnSpPr>
          <p:cNvPr id="97" name="Conector de Seta Reta 96">
            <a:extLst>
              <a:ext uri="{FF2B5EF4-FFF2-40B4-BE49-F238E27FC236}">
                <a16:creationId xmlns:a16="http://schemas.microsoft.com/office/drawing/2014/main" id="{97F3054E-473F-434F-80CF-E18196B91F23}"/>
              </a:ext>
            </a:extLst>
          </p:cNvPr>
          <p:cNvCxnSpPr>
            <a:cxnSpLocks/>
          </p:cNvCxnSpPr>
          <p:nvPr/>
        </p:nvCxnSpPr>
        <p:spPr>
          <a:xfrm flipH="1">
            <a:off x="4545580" y="5507577"/>
            <a:ext cx="1069" cy="19416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tângulo 98">
            <a:extLst>
              <a:ext uri="{FF2B5EF4-FFF2-40B4-BE49-F238E27FC236}">
                <a16:creationId xmlns:a16="http://schemas.microsoft.com/office/drawing/2014/main" id="{74C61C31-57C9-42CF-AAE3-52F528BDEE2A}"/>
              </a:ext>
            </a:extLst>
          </p:cNvPr>
          <p:cNvSpPr/>
          <p:nvPr/>
        </p:nvSpPr>
        <p:spPr>
          <a:xfrm>
            <a:off x="4559004" y="4189651"/>
            <a:ext cx="119772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i="1" dirty="0"/>
              <a:t>Quanto </a:t>
            </a:r>
            <a:r>
              <a:rPr lang="pt-BR" sz="800" b="1" i="1" dirty="0"/>
              <a:t>menor</a:t>
            </a:r>
            <a:r>
              <a:rPr lang="pt-BR" sz="800" i="1" dirty="0"/>
              <a:t>, melhor</a:t>
            </a:r>
          </a:p>
        </p:txBody>
      </p:sp>
      <p:cxnSp>
        <p:nvCxnSpPr>
          <p:cNvPr id="100" name="Conector de Seta Reta 99">
            <a:extLst>
              <a:ext uri="{FF2B5EF4-FFF2-40B4-BE49-F238E27FC236}">
                <a16:creationId xmlns:a16="http://schemas.microsoft.com/office/drawing/2014/main" id="{EBE32F06-42F8-4740-8240-CAF0B3FB29AC}"/>
              </a:ext>
            </a:extLst>
          </p:cNvPr>
          <p:cNvCxnSpPr>
            <a:cxnSpLocks/>
          </p:cNvCxnSpPr>
          <p:nvPr/>
        </p:nvCxnSpPr>
        <p:spPr>
          <a:xfrm flipH="1">
            <a:off x="4545785" y="4200291"/>
            <a:ext cx="1069" cy="19416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16">
            <a:extLst>
              <a:ext uri="{FF2B5EF4-FFF2-40B4-BE49-F238E27FC236}">
                <a16:creationId xmlns:a16="http://schemas.microsoft.com/office/drawing/2014/main" id="{9B889F78-7553-418F-A7DC-3A395623403C}"/>
              </a:ext>
            </a:extLst>
          </p:cNvPr>
          <p:cNvCxnSpPr>
            <a:cxnSpLocks/>
          </p:cNvCxnSpPr>
          <p:nvPr/>
        </p:nvCxnSpPr>
        <p:spPr>
          <a:xfrm>
            <a:off x="542130" y="5258934"/>
            <a:ext cx="487759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Agrupar 104">
            <a:extLst>
              <a:ext uri="{FF2B5EF4-FFF2-40B4-BE49-F238E27FC236}">
                <a16:creationId xmlns:a16="http://schemas.microsoft.com/office/drawing/2014/main" id="{9CED3C84-9BCC-4EA5-A494-9158ADCA91B1}"/>
              </a:ext>
            </a:extLst>
          </p:cNvPr>
          <p:cNvGrpSpPr/>
          <p:nvPr/>
        </p:nvGrpSpPr>
        <p:grpSpPr>
          <a:xfrm>
            <a:off x="3704972" y="5735971"/>
            <a:ext cx="1883567" cy="423599"/>
            <a:chOff x="9303817" y="3853863"/>
            <a:chExt cx="1821004" cy="368347"/>
          </a:xfrm>
        </p:grpSpPr>
        <p:sp>
          <p:nvSpPr>
            <p:cNvPr id="106" name="Retângulo 105">
              <a:extLst>
                <a:ext uri="{FF2B5EF4-FFF2-40B4-BE49-F238E27FC236}">
                  <a16:creationId xmlns:a16="http://schemas.microsoft.com/office/drawing/2014/main" id="{C8DE1C2E-7DEB-4A04-9936-DCFAA17DC0FE}"/>
                </a:ext>
              </a:extLst>
            </p:cNvPr>
            <p:cNvSpPr/>
            <p:nvPr/>
          </p:nvSpPr>
          <p:spPr>
            <a:xfrm>
              <a:off x="10126122" y="3867388"/>
              <a:ext cx="998699" cy="1918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pt-BR" sz="800" i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(Custo OPEX x 12)]</a:t>
              </a:r>
            </a:p>
          </p:txBody>
        </p:sp>
        <p:sp>
          <p:nvSpPr>
            <p:cNvPr id="107" name="Retângulo 106">
              <a:extLst>
                <a:ext uri="{FF2B5EF4-FFF2-40B4-BE49-F238E27FC236}">
                  <a16:creationId xmlns:a16="http://schemas.microsoft.com/office/drawing/2014/main" id="{E3EA68C3-71A9-4B70-AEB6-D76695ACE9D1}"/>
                </a:ext>
              </a:extLst>
            </p:cNvPr>
            <p:cNvSpPr/>
            <p:nvPr/>
          </p:nvSpPr>
          <p:spPr>
            <a:xfrm>
              <a:off x="9438608" y="4034868"/>
              <a:ext cx="1592161" cy="1873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800" i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Saving por ano</a:t>
              </a:r>
            </a:p>
          </p:txBody>
        </p:sp>
        <p:sp>
          <p:nvSpPr>
            <p:cNvPr id="108" name="Retângulo 107">
              <a:extLst>
                <a:ext uri="{FF2B5EF4-FFF2-40B4-BE49-F238E27FC236}">
                  <a16:creationId xmlns:a16="http://schemas.microsoft.com/office/drawing/2014/main" id="{6056916B-ABCC-4E98-A5B1-BFAAD2BC6FDA}"/>
                </a:ext>
              </a:extLst>
            </p:cNvPr>
            <p:cNvSpPr/>
            <p:nvPr/>
          </p:nvSpPr>
          <p:spPr>
            <a:xfrm>
              <a:off x="9303817" y="3869506"/>
              <a:ext cx="892539" cy="1873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pt-BR" sz="800" i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[Custo CAPEX</a:t>
              </a:r>
            </a:p>
          </p:txBody>
        </p:sp>
        <p:sp>
          <p:nvSpPr>
            <p:cNvPr id="109" name="Retângulo 108">
              <a:extLst>
                <a:ext uri="{FF2B5EF4-FFF2-40B4-BE49-F238E27FC236}">
                  <a16:creationId xmlns:a16="http://schemas.microsoft.com/office/drawing/2014/main" id="{A932592A-BF0F-4500-BF13-4DF23B93B313}"/>
                </a:ext>
              </a:extLst>
            </p:cNvPr>
            <p:cNvSpPr/>
            <p:nvPr/>
          </p:nvSpPr>
          <p:spPr>
            <a:xfrm>
              <a:off x="10004747" y="3853863"/>
              <a:ext cx="883819" cy="2007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pt-BR" sz="900" b="1" i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cxnSp>
          <p:nvCxnSpPr>
            <p:cNvPr id="110" name="Conector Reto 77">
              <a:extLst>
                <a:ext uri="{FF2B5EF4-FFF2-40B4-BE49-F238E27FC236}">
                  <a16:creationId xmlns:a16="http://schemas.microsoft.com/office/drawing/2014/main" id="{F87E524E-F849-4BFE-A5EA-2CD1693A7B2E}"/>
                </a:ext>
              </a:extLst>
            </p:cNvPr>
            <p:cNvCxnSpPr>
              <a:cxnSpLocks/>
            </p:cNvCxnSpPr>
            <p:nvPr/>
          </p:nvCxnSpPr>
          <p:spPr>
            <a:xfrm>
              <a:off x="9438608" y="4053327"/>
              <a:ext cx="159216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" name="Tabela 7">
            <a:extLst>
              <a:ext uri="{FF2B5EF4-FFF2-40B4-BE49-F238E27FC236}">
                <a16:creationId xmlns:a16="http://schemas.microsoft.com/office/drawing/2014/main" id="{16CB7E22-3BAD-4002-B248-E208A823C2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684599"/>
              </p:ext>
            </p:extLst>
          </p:nvPr>
        </p:nvGraphicFramePr>
        <p:xfrm>
          <a:off x="407368" y="1322567"/>
          <a:ext cx="11518181" cy="1977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4557">
                  <a:extLst>
                    <a:ext uri="{9D8B030D-6E8A-4147-A177-3AD203B41FA5}">
                      <a16:colId xmlns:a16="http://schemas.microsoft.com/office/drawing/2014/main" val="2357133639"/>
                    </a:ext>
                  </a:extLst>
                </a:gridCol>
                <a:gridCol w="1973372">
                  <a:extLst>
                    <a:ext uri="{9D8B030D-6E8A-4147-A177-3AD203B41FA5}">
                      <a16:colId xmlns:a16="http://schemas.microsoft.com/office/drawing/2014/main" val="3820267996"/>
                    </a:ext>
                  </a:extLst>
                </a:gridCol>
                <a:gridCol w="3032157">
                  <a:extLst>
                    <a:ext uri="{9D8B030D-6E8A-4147-A177-3AD203B41FA5}">
                      <a16:colId xmlns:a16="http://schemas.microsoft.com/office/drawing/2014/main" val="1933170666"/>
                    </a:ext>
                  </a:extLst>
                </a:gridCol>
                <a:gridCol w="751169">
                  <a:extLst>
                    <a:ext uri="{9D8B030D-6E8A-4147-A177-3AD203B41FA5}">
                      <a16:colId xmlns:a16="http://schemas.microsoft.com/office/drawing/2014/main" val="3061127793"/>
                    </a:ext>
                  </a:extLst>
                </a:gridCol>
                <a:gridCol w="1163586">
                  <a:extLst>
                    <a:ext uri="{9D8B030D-6E8A-4147-A177-3AD203B41FA5}">
                      <a16:colId xmlns:a16="http://schemas.microsoft.com/office/drawing/2014/main" val="3074653171"/>
                    </a:ext>
                  </a:extLst>
                </a:gridCol>
                <a:gridCol w="1110327">
                  <a:extLst>
                    <a:ext uri="{9D8B030D-6E8A-4147-A177-3AD203B41FA5}">
                      <a16:colId xmlns:a16="http://schemas.microsoft.com/office/drawing/2014/main" val="131616844"/>
                    </a:ext>
                  </a:extLst>
                </a:gridCol>
                <a:gridCol w="750272">
                  <a:extLst>
                    <a:ext uri="{9D8B030D-6E8A-4147-A177-3AD203B41FA5}">
                      <a16:colId xmlns:a16="http://schemas.microsoft.com/office/drawing/2014/main" val="1904394900"/>
                    </a:ext>
                  </a:extLst>
                </a:gridCol>
                <a:gridCol w="659563">
                  <a:extLst>
                    <a:ext uri="{9D8B030D-6E8A-4147-A177-3AD203B41FA5}">
                      <a16:colId xmlns:a16="http://schemas.microsoft.com/office/drawing/2014/main" val="675467584"/>
                    </a:ext>
                  </a:extLst>
                </a:gridCol>
                <a:gridCol w="873536">
                  <a:extLst>
                    <a:ext uri="{9D8B030D-6E8A-4147-A177-3AD203B41FA5}">
                      <a16:colId xmlns:a16="http://schemas.microsoft.com/office/drawing/2014/main" val="2128590527"/>
                    </a:ext>
                  </a:extLst>
                </a:gridCol>
                <a:gridCol w="619642">
                  <a:extLst>
                    <a:ext uri="{9D8B030D-6E8A-4147-A177-3AD203B41FA5}">
                      <a16:colId xmlns:a16="http://schemas.microsoft.com/office/drawing/2014/main" val="1370871131"/>
                    </a:ext>
                  </a:extLst>
                </a:gridCol>
              </a:tblGrid>
              <a:tr h="507987"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atus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Área de negócio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iciativa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stimativa de esforço </a:t>
                      </a:r>
                      <a:br>
                        <a:rPr lang="pt-BR" sz="6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pt-BR" sz="5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pt-BR" sz="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m pontos</a:t>
                      </a:r>
                      <a:r>
                        <a:rPr lang="pt-BR" sz="5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lang="pt-BR" sz="8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anho esperado </a:t>
                      </a:r>
                    </a:p>
                    <a:p>
                      <a:pPr algn="ctr"/>
                      <a:r>
                        <a:rPr lang="pt-BR" sz="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Redução de trabalho operacional)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anho esperado </a:t>
                      </a:r>
                    </a:p>
                    <a:p>
                      <a:pPr algn="ctr"/>
                      <a:r>
                        <a:rPr lang="pt-BR" sz="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Mitigação de risco corporativo)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aving estimado </a:t>
                      </a:r>
                      <a:r>
                        <a:rPr lang="pt-BR" sz="5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anual)</a:t>
                      </a:r>
                      <a:endParaRPr lang="pt-BR" sz="8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ayback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PL</a:t>
                      </a:r>
                    </a:p>
                    <a:p>
                      <a:pPr algn="ctr"/>
                      <a:r>
                        <a:rPr lang="pt-BR" sz="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3 anos)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R</a:t>
                      </a:r>
                    </a:p>
                    <a:p>
                      <a:pPr algn="ctr"/>
                      <a:r>
                        <a:rPr lang="pt-BR" sz="600" b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3 anos)</a:t>
                      </a:r>
                    </a:p>
                  </a:txBody>
                  <a:tcPr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9311650"/>
                  </a:ext>
                </a:extLst>
              </a:tr>
              <a:tr h="322619">
                <a:tc>
                  <a:txBody>
                    <a:bodyPr/>
                    <a:lstStyle/>
                    <a:p>
                      <a:endParaRPr lang="pt-BR" sz="1000" i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ack Office - Form. e Alocação de garantia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ínculo e desvinculo de Tesouro Direto em garantia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,7 ponto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b="1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93.8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0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490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/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731202"/>
                  </a:ext>
                </a:extLst>
              </a:tr>
              <a:tr h="263041">
                <a:tc>
                  <a:txBody>
                    <a:bodyPr/>
                    <a:lstStyle/>
                    <a:p>
                      <a:endParaRPr lang="pt-BR" sz="1000" i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ack Office - Cadastro PJ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bertura de conta Corporat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2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64 H/mê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1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</a:t>
                      </a:r>
                      <a:r>
                        <a:rPr lang="pt-BR" sz="8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47.1 K</a:t>
                      </a:r>
                      <a:endParaRPr lang="pt-BR" sz="800" b="1" i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37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R$ 885 K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75,5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256426"/>
                  </a:ext>
                </a:extLst>
              </a:tr>
              <a:tr h="290278">
                <a:tc>
                  <a:txBody>
                    <a:bodyPr/>
                    <a:lstStyle/>
                    <a:p>
                      <a:endParaRPr lang="pt-BR" sz="1000" i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ack Office - Cadastro Institucional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ivação de contas em lote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8 H/mê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309.5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45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583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23,5%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282558"/>
                  </a:ext>
                </a:extLst>
              </a:tr>
              <a:tr h="290278">
                <a:tc>
                  <a:txBody>
                    <a:bodyPr/>
                    <a:lstStyle/>
                    <a:p>
                      <a:endParaRPr lang="pt-BR" sz="1000" i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2B Middl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tração de relatórios Sinacor e RT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kern="1200" dirty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54 H/mê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b="1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368,9 K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57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661,8 K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5,8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542357"/>
                  </a:ext>
                </a:extLst>
              </a:tr>
              <a:tr h="290278">
                <a:tc>
                  <a:txBody>
                    <a:bodyPr/>
                    <a:lstStyle/>
                    <a:p>
                      <a:endParaRPr lang="pt-BR" sz="1000" i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perações - Telefoni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tendimento de chamados de gravação de telefonia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4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0 H/mê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6 ponto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8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81.8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8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298 K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5,8%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259345"/>
                  </a:ext>
                </a:extLst>
              </a:tr>
            </a:tbl>
          </a:graphicData>
        </a:graphic>
      </p:graphicFrame>
      <p:cxnSp>
        <p:nvCxnSpPr>
          <p:cNvPr id="112" name="Conector reto 111">
            <a:extLst>
              <a:ext uri="{FF2B5EF4-FFF2-40B4-BE49-F238E27FC236}">
                <a16:creationId xmlns:a16="http://schemas.microsoft.com/office/drawing/2014/main" id="{D40C3181-12A1-45D7-B9D3-5FAD1E43D020}"/>
              </a:ext>
            </a:extLst>
          </p:cNvPr>
          <p:cNvCxnSpPr>
            <a:cxnSpLocks/>
          </p:cNvCxnSpPr>
          <p:nvPr/>
        </p:nvCxnSpPr>
        <p:spPr>
          <a:xfrm>
            <a:off x="2191169" y="4251595"/>
            <a:ext cx="0" cy="76808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ector reto 112">
            <a:extLst>
              <a:ext uri="{FF2B5EF4-FFF2-40B4-BE49-F238E27FC236}">
                <a16:creationId xmlns:a16="http://schemas.microsoft.com/office/drawing/2014/main" id="{BEAF92D9-5851-48F3-8237-B86B2CF7F710}"/>
              </a:ext>
            </a:extLst>
          </p:cNvPr>
          <p:cNvCxnSpPr>
            <a:cxnSpLocks/>
          </p:cNvCxnSpPr>
          <p:nvPr/>
        </p:nvCxnSpPr>
        <p:spPr>
          <a:xfrm>
            <a:off x="3670952" y="4248538"/>
            <a:ext cx="0" cy="77113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tângulo 113">
            <a:extLst>
              <a:ext uri="{FF2B5EF4-FFF2-40B4-BE49-F238E27FC236}">
                <a16:creationId xmlns:a16="http://schemas.microsoft.com/office/drawing/2014/main" id="{F8EAE6EC-3321-49D5-96A9-4C21F655A4B3}"/>
              </a:ext>
            </a:extLst>
          </p:cNvPr>
          <p:cNvSpPr/>
          <p:nvPr/>
        </p:nvSpPr>
        <p:spPr>
          <a:xfrm>
            <a:off x="3767635" y="4408516"/>
            <a:ext cx="18351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800" i="1" dirty="0"/>
              <a:t>Complexidade de detectar e/ou tratar exceções e cenários de err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800" i="1" dirty="0"/>
              <a:t>Existência de padronização de entradas e saídas do process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800" i="1" dirty="0"/>
              <a:t>Existência de APIs no processo</a:t>
            </a:r>
          </a:p>
        </p:txBody>
      </p:sp>
      <p:grpSp>
        <p:nvGrpSpPr>
          <p:cNvPr id="92" name="Agrupar 91">
            <a:extLst>
              <a:ext uri="{FF2B5EF4-FFF2-40B4-BE49-F238E27FC236}">
                <a16:creationId xmlns:a16="http://schemas.microsoft.com/office/drawing/2014/main" id="{BCB397FA-4004-4206-AFE1-8B31C6D50C06}"/>
              </a:ext>
            </a:extLst>
          </p:cNvPr>
          <p:cNvGrpSpPr/>
          <p:nvPr/>
        </p:nvGrpSpPr>
        <p:grpSpPr>
          <a:xfrm>
            <a:off x="7225633" y="5914714"/>
            <a:ext cx="449363" cy="348620"/>
            <a:chOff x="3319181" y="4302491"/>
            <a:chExt cx="545897" cy="423512"/>
          </a:xfrm>
        </p:grpSpPr>
        <p:sp>
          <p:nvSpPr>
            <p:cNvPr id="102" name="Elipse 101">
              <a:extLst>
                <a:ext uri="{FF2B5EF4-FFF2-40B4-BE49-F238E27FC236}">
                  <a16:creationId xmlns:a16="http://schemas.microsoft.com/office/drawing/2014/main" id="{CC57D1D1-8913-40D4-8E34-3375CA46A72F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103" name="Retângulo 102">
              <a:extLst>
                <a:ext uri="{FF2B5EF4-FFF2-40B4-BE49-F238E27FC236}">
                  <a16:creationId xmlns:a16="http://schemas.microsoft.com/office/drawing/2014/main" id="{9608D6E0-B8A5-4185-A03B-C95AA334ABA6}"/>
                </a:ext>
              </a:extLst>
            </p:cNvPr>
            <p:cNvSpPr/>
            <p:nvPr/>
          </p:nvSpPr>
          <p:spPr>
            <a:xfrm>
              <a:off x="3319181" y="4384340"/>
              <a:ext cx="545897" cy="280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21</a:t>
              </a:r>
            </a:p>
          </p:txBody>
        </p:sp>
      </p:grp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C3360C4-887C-49E0-B761-D02532D90927}"/>
              </a:ext>
            </a:extLst>
          </p:cNvPr>
          <p:cNvSpPr txBox="1"/>
          <p:nvPr/>
        </p:nvSpPr>
        <p:spPr>
          <a:xfrm>
            <a:off x="1996687" y="6626713"/>
            <a:ext cx="9169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/>
              <a:t>Em andamento</a:t>
            </a:r>
          </a:p>
        </p:txBody>
      </p:sp>
      <p:sp>
        <p:nvSpPr>
          <p:cNvPr id="111" name="Retângulo 110">
            <a:extLst>
              <a:ext uri="{FF2B5EF4-FFF2-40B4-BE49-F238E27FC236}">
                <a16:creationId xmlns:a16="http://schemas.microsoft.com/office/drawing/2014/main" id="{45EEB40A-C76D-4DF7-AF4D-F0E6312B250D}"/>
              </a:ext>
            </a:extLst>
          </p:cNvPr>
          <p:cNvSpPr/>
          <p:nvPr/>
        </p:nvSpPr>
        <p:spPr>
          <a:xfrm>
            <a:off x="1761247" y="6661521"/>
            <a:ext cx="265814" cy="13043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5" name="Agrupar 114">
            <a:extLst>
              <a:ext uri="{FF2B5EF4-FFF2-40B4-BE49-F238E27FC236}">
                <a16:creationId xmlns:a16="http://schemas.microsoft.com/office/drawing/2014/main" id="{9052FE52-48DC-4184-910D-767DAAC50576}"/>
              </a:ext>
            </a:extLst>
          </p:cNvPr>
          <p:cNvGrpSpPr/>
          <p:nvPr/>
        </p:nvGrpSpPr>
        <p:grpSpPr>
          <a:xfrm>
            <a:off x="8655816" y="5019217"/>
            <a:ext cx="449363" cy="348620"/>
            <a:chOff x="3319181" y="4302491"/>
            <a:chExt cx="545897" cy="423512"/>
          </a:xfrm>
        </p:grpSpPr>
        <p:sp>
          <p:nvSpPr>
            <p:cNvPr id="116" name="Elipse 115">
              <a:extLst>
                <a:ext uri="{FF2B5EF4-FFF2-40B4-BE49-F238E27FC236}">
                  <a16:creationId xmlns:a16="http://schemas.microsoft.com/office/drawing/2014/main" id="{DC2051DC-D0BF-49C8-BF17-D85112F66BE2}"/>
                </a:ext>
              </a:extLst>
            </p:cNvPr>
            <p:cNvSpPr/>
            <p:nvPr/>
          </p:nvSpPr>
          <p:spPr>
            <a:xfrm>
              <a:off x="3388093" y="4302491"/>
              <a:ext cx="423512" cy="42351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800" b="1" dirty="0"/>
            </a:p>
          </p:txBody>
        </p:sp>
        <p:sp>
          <p:nvSpPr>
            <p:cNvPr id="117" name="Retângulo 116">
              <a:extLst>
                <a:ext uri="{FF2B5EF4-FFF2-40B4-BE49-F238E27FC236}">
                  <a16:creationId xmlns:a16="http://schemas.microsoft.com/office/drawing/2014/main" id="{B3708604-3837-42B6-8574-708267FC5CEB}"/>
                </a:ext>
              </a:extLst>
            </p:cNvPr>
            <p:cNvSpPr/>
            <p:nvPr/>
          </p:nvSpPr>
          <p:spPr>
            <a:xfrm>
              <a:off x="3319181" y="4384340"/>
              <a:ext cx="545897" cy="280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pt-BR" sz="9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244547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101">
            <a:extLst>
              <a:ext uri="{FF2B5EF4-FFF2-40B4-BE49-F238E27FC236}">
                <a16:creationId xmlns:a16="http://schemas.microsoft.com/office/drawing/2014/main" id="{55C5EEAF-63B8-4762-A3EB-9A151742638D}"/>
              </a:ext>
            </a:extLst>
          </p:cNvPr>
          <p:cNvSpPr/>
          <p:nvPr/>
        </p:nvSpPr>
        <p:spPr>
          <a:xfrm>
            <a:off x="-1" y="940382"/>
            <a:ext cx="4337313" cy="591761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6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4065686-F7E1-4579-8528-CCDA6A880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0"/>
            <a:ext cx="8003207" cy="731754"/>
          </a:xfrm>
        </p:spPr>
        <p:txBody>
          <a:bodyPr>
            <a:normAutofit/>
          </a:bodyPr>
          <a:lstStyle/>
          <a:p>
            <a:r>
              <a:rPr lang="pt-BR" b="1" dirty="0">
                <a:latin typeface="Segoe UI" panose="020B0502040204020203" pitchFamily="34" charset="0"/>
                <a:cs typeface="Segoe UI" panose="020B0502040204020203" pitchFamily="34" charset="0"/>
              </a:rPr>
              <a:t>E032 - TELEFONIA </a:t>
            </a:r>
            <a:r>
              <a:rPr lang="pt-BR" dirty="0">
                <a:latin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pt-BR" sz="1800" i="1" dirty="0">
                <a:latin typeface="Segoe UI" panose="020B0502040204020203" pitchFamily="34" charset="0"/>
                <a:cs typeface="Segoe UI" panose="020B0502040204020203" pitchFamily="34" charset="0"/>
              </a:rPr>
              <a:t>Atendimento de chamados de gravação de telefonia</a:t>
            </a:r>
            <a:endParaRPr lang="pt-BR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346080FC-74B7-4F15-A023-BD28959E5989}"/>
              </a:ext>
            </a:extLst>
          </p:cNvPr>
          <p:cNvSpPr txBox="1"/>
          <p:nvPr/>
        </p:nvSpPr>
        <p:spPr>
          <a:xfrm>
            <a:off x="86637" y="1036809"/>
            <a:ext cx="27129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b="1" i="1" dirty="0">
                <a:solidFill>
                  <a:schemeClr val="bg1"/>
                </a:solidFill>
                <a:highlight>
                  <a:srgbClr val="F4B183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INICIATIV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i="1" dirty="0">
                <a:solidFill>
                  <a:schemeClr val="bg1"/>
                </a:solidFill>
                <a:highlight>
                  <a:srgbClr val="F4B183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INFORMAÇÕES ATUAIS</a:t>
            </a: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13B98DAC-4356-4A9A-BD8C-4EAF68F258AD}"/>
              </a:ext>
            </a:extLst>
          </p:cNvPr>
          <p:cNvSpPr/>
          <p:nvPr/>
        </p:nvSpPr>
        <p:spPr>
          <a:xfrm>
            <a:off x="147034" y="2570105"/>
            <a:ext cx="419027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i="1" dirty="0">
                <a:solidFill>
                  <a:prstClr val="black"/>
                </a:solidFill>
                <a:highlight>
                  <a:srgbClr val="FBE3D5"/>
                </a:highlight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Sobre o processo:</a:t>
            </a:r>
          </a:p>
          <a:p>
            <a:pPr>
              <a:lnSpc>
                <a:spcPct val="150000"/>
              </a:lnSpc>
            </a:pPr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Executado diariamente e com um volume médio mensal de 210 solicitações, realizadas em, aproximadamente, 40 minutos cada, o processo é feito por 01 analista Júnior e se inicia a partir de uma requisição no Taylor (Service Now). </a:t>
            </a:r>
          </a:p>
          <a:p>
            <a:pPr>
              <a:lnSpc>
                <a:spcPct val="150000"/>
              </a:lnSpc>
            </a:pPr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Analistas XP ou o time do Jurídico, comumente, solicitam gravações de ligações recebidas ou efetuadas, em períodos especificados, podendo ser extraídas de dois sistemas: Avaya ou XP Connect.</a:t>
            </a:r>
          </a:p>
          <a:p>
            <a:pPr>
              <a:lnSpc>
                <a:spcPct val="150000"/>
              </a:lnSpc>
            </a:pPr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r>
              <a:rPr lang="pt-BR" sz="1000" b="1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Qual impacto é gerado:</a:t>
            </a:r>
          </a:p>
          <a:p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Regulatório e Financeiro.</a:t>
            </a:r>
          </a:p>
          <a:p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r>
              <a:rPr lang="pt-BR" sz="1000" b="1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Quem sofre o impacto:</a:t>
            </a:r>
          </a:p>
          <a:p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Cliente externo, Assessor e Colaborador XP.</a:t>
            </a:r>
          </a:p>
          <a:p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r>
              <a:rPr lang="pt-BR" sz="1000" b="1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Criticidade do processo:</a:t>
            </a:r>
          </a:p>
          <a:p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Apresenta Score atual no Mapa de risco da Cia de 6,6 pontos e Score futuro, após automação, de 1 ponto, com mitigação de 5,6 pontos. </a:t>
            </a:r>
          </a:p>
          <a:p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  <a:p>
            <a:r>
              <a:rPr lang="pt-BR" sz="1000" b="1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Benefícios qualitativos: </a:t>
            </a:r>
          </a:p>
          <a:p>
            <a:r>
              <a:rPr lang="pt-BR" sz="1000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Aumento do NPS de Assessoria.</a:t>
            </a:r>
          </a:p>
          <a:p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</p:txBody>
      </p:sp>
      <p:sp>
        <p:nvSpPr>
          <p:cNvPr id="35" name="TextBox 28">
            <a:extLst>
              <a:ext uri="{FF2B5EF4-FFF2-40B4-BE49-F238E27FC236}">
                <a16:creationId xmlns:a16="http://schemas.microsoft.com/office/drawing/2014/main" id="{1706A8F9-E956-4CAC-BE2F-4C652246BE32}"/>
              </a:ext>
            </a:extLst>
          </p:cNvPr>
          <p:cNvSpPr txBox="1"/>
          <p:nvPr/>
        </p:nvSpPr>
        <p:spPr>
          <a:xfrm>
            <a:off x="1040936" y="1834685"/>
            <a:ext cx="811536" cy="358252"/>
          </a:xfrm>
          <a:prstGeom prst="rect">
            <a:avLst/>
          </a:prstGeom>
          <a:noFill/>
        </p:spPr>
        <p:txBody>
          <a:bodyPr wrap="square" lIns="0" tIns="43891" rIns="0" bIns="0" rtlCol="0">
            <a:spAutoFit/>
          </a:bodyPr>
          <a:lstStyle/>
          <a:p>
            <a:pPr algn="ctr" defTabSz="855857">
              <a:lnSpc>
                <a:spcPct val="85000"/>
              </a:lnSpc>
              <a:spcAft>
                <a:spcPts val="720"/>
              </a:spcAft>
              <a:buClr>
                <a:srgbClr val="FFD200"/>
              </a:buClr>
              <a:buSzPct val="70000"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~</a:t>
            </a:r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140</a:t>
            </a:r>
            <a:endParaRPr lang="pt-BR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72EB498C-A1FD-4F6E-8930-44745C15D023}"/>
              </a:ext>
            </a:extLst>
          </p:cNvPr>
          <p:cNvSpPr/>
          <p:nvPr/>
        </p:nvSpPr>
        <p:spPr>
          <a:xfrm>
            <a:off x="1852472" y="1763296"/>
            <a:ext cx="142255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b="1" i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ras a menos de trabalho operacional por mês</a:t>
            </a:r>
            <a:endParaRPr lang="pt-BR" sz="1000" b="1" i="1" dirty="0"/>
          </a:p>
        </p:txBody>
      </p:sp>
      <p:graphicFrame>
        <p:nvGraphicFramePr>
          <p:cNvPr id="51" name="Tabela 7">
            <a:extLst>
              <a:ext uri="{FF2B5EF4-FFF2-40B4-BE49-F238E27FC236}">
                <a16:creationId xmlns:a16="http://schemas.microsoft.com/office/drawing/2014/main" id="{73AF6B9E-17FF-4363-BDE7-369DD67BBD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566321"/>
              </p:ext>
            </p:extLst>
          </p:nvPr>
        </p:nvGraphicFramePr>
        <p:xfrm>
          <a:off x="5974898" y="3270991"/>
          <a:ext cx="4251200" cy="33925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4852">
                  <a:extLst>
                    <a:ext uri="{9D8B030D-6E8A-4147-A177-3AD203B41FA5}">
                      <a16:colId xmlns:a16="http://schemas.microsoft.com/office/drawing/2014/main" val="3820267996"/>
                    </a:ext>
                  </a:extLst>
                </a:gridCol>
                <a:gridCol w="1386348">
                  <a:extLst>
                    <a:ext uri="{9D8B030D-6E8A-4147-A177-3AD203B41FA5}">
                      <a16:colId xmlns:a16="http://schemas.microsoft.com/office/drawing/2014/main" val="1933170666"/>
                    </a:ext>
                  </a:extLst>
                </a:gridCol>
              </a:tblGrid>
              <a:tr h="308413"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NDICADORES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ALORES</a:t>
                      </a: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560092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usto do Processo As Is (OPEX anual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81.818,18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151656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usto do investimento (CAPEX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26.943,9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78181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usto de manutenção em produção (OPEX anual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53.939,92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437631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aving real (Ano 1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00.934,3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900373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aving real (a partir do Ano 2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27.878,27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157828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ayback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8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300728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PL (ano 1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92.520,52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8494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PL (ano 2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199.967,69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3009484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PL (ano 3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$ 298.458,15</a:t>
                      </a: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436259"/>
                  </a:ext>
                </a:extLst>
              </a:tr>
              <a:tr h="308413">
                <a:tc>
                  <a:txBody>
                    <a:bodyPr/>
                    <a:lstStyle/>
                    <a:p>
                      <a:pPr algn="l"/>
                      <a:r>
                        <a:rPr lang="pt-BR" sz="900" b="1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R (ano 3)</a:t>
                      </a:r>
                    </a:p>
                  </a:txBody>
                  <a:tcPr anchor="ctr">
                    <a:solidFill>
                      <a:srgbClr val="9AA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5,81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33123"/>
                  </a:ext>
                </a:extLst>
              </a:tr>
            </a:tbl>
          </a:graphicData>
        </a:graphic>
      </p:graphicFrame>
      <p:sp>
        <p:nvSpPr>
          <p:cNvPr id="54" name="CaixaDeTexto 53">
            <a:extLst>
              <a:ext uri="{FF2B5EF4-FFF2-40B4-BE49-F238E27FC236}">
                <a16:creationId xmlns:a16="http://schemas.microsoft.com/office/drawing/2014/main" id="{7E4D99E5-39B1-40C8-A4A9-4FECAE45CD77}"/>
              </a:ext>
            </a:extLst>
          </p:cNvPr>
          <p:cNvSpPr txBox="1"/>
          <p:nvPr/>
        </p:nvSpPr>
        <p:spPr>
          <a:xfrm>
            <a:off x="4487187" y="1036809"/>
            <a:ext cx="271291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b="1" i="1" dirty="0">
                <a:solidFill>
                  <a:schemeClr val="bg1"/>
                </a:solidFill>
                <a:highlight>
                  <a:srgbClr val="F4B183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INICIATIV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050" i="1" dirty="0">
                <a:solidFill>
                  <a:schemeClr val="bg1"/>
                </a:solidFill>
                <a:highlight>
                  <a:srgbClr val="F4B183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RESUMO FINANCEIRO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EE9A4875-21A8-4E08-9778-FECEDED0A2AF}"/>
              </a:ext>
            </a:extLst>
          </p:cNvPr>
          <p:cNvSpPr/>
          <p:nvPr/>
        </p:nvSpPr>
        <p:spPr>
          <a:xfrm rot="16200000">
            <a:off x="8504967" y="-927691"/>
            <a:ext cx="878676" cy="59319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F5324C2C-CCBC-477E-84A9-702970A4CF72}"/>
              </a:ext>
            </a:extLst>
          </p:cNvPr>
          <p:cNvSpPr/>
          <p:nvPr/>
        </p:nvSpPr>
        <p:spPr>
          <a:xfrm>
            <a:off x="6006912" y="1622468"/>
            <a:ext cx="795698" cy="845625"/>
          </a:xfrm>
          <a:prstGeom prst="rect">
            <a:avLst/>
          </a:prstGeom>
          <a:solidFill>
            <a:srgbClr val="9AAFCE"/>
          </a:solidFill>
          <a:ln>
            <a:solidFill>
              <a:srgbClr val="9AAF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77B30FFB-986A-43D4-96A5-644C11DCABA1}"/>
              </a:ext>
            </a:extLst>
          </p:cNvPr>
          <p:cNvSpPr/>
          <p:nvPr/>
        </p:nvSpPr>
        <p:spPr>
          <a:xfrm>
            <a:off x="6831186" y="1623862"/>
            <a:ext cx="3423487" cy="8537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B09B1FB-7F54-4443-B5E4-EC261230603C}"/>
              </a:ext>
            </a:extLst>
          </p:cNvPr>
          <p:cNvSpPr txBox="1"/>
          <p:nvPr/>
        </p:nvSpPr>
        <p:spPr>
          <a:xfrm>
            <a:off x="7928955" y="1605054"/>
            <a:ext cx="96324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pt-BR" sz="105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$ 1.000 K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D1454E9C-AFC1-4492-841F-06D47B245A54}"/>
              </a:ext>
            </a:extLst>
          </p:cNvPr>
          <p:cNvSpPr/>
          <p:nvPr/>
        </p:nvSpPr>
        <p:spPr>
          <a:xfrm>
            <a:off x="170096" y="1827984"/>
            <a:ext cx="9073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i="1" dirty="0">
                <a:solidFill>
                  <a:prstClr val="black"/>
                </a:solidFill>
                <a:highlight>
                  <a:srgbClr val="FBE3D5"/>
                </a:highlight>
                <a:latin typeface="Segoe UI" panose="020B0502040204020203" pitchFamily="34" charset="0"/>
                <a:cs typeface="Segoe UI" panose="020B0502040204020203" pitchFamily="34" charset="0"/>
                <a:sym typeface="Helvetica Neue"/>
              </a:rPr>
              <a:t>Ganho esperado</a:t>
            </a:r>
          </a:p>
          <a:p>
            <a:endParaRPr lang="pt-BR" sz="1000" i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2E2C6C24-6C33-4180-A0CC-8A87240D6EF5}"/>
              </a:ext>
            </a:extLst>
          </p:cNvPr>
          <p:cNvSpPr/>
          <p:nvPr/>
        </p:nvSpPr>
        <p:spPr>
          <a:xfrm>
            <a:off x="4555786" y="1782159"/>
            <a:ext cx="14225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NEFÍCIOS A SEREM COLETADOS PÓS AUTOMAÇÃO</a:t>
            </a:r>
            <a:endParaRPr lang="pt-BR" sz="1050" b="1" dirty="0"/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C73E747A-1880-440F-AE49-6908ACF21150}"/>
              </a:ext>
            </a:extLst>
          </p:cNvPr>
          <p:cNvSpPr/>
          <p:nvPr/>
        </p:nvSpPr>
        <p:spPr>
          <a:xfrm>
            <a:off x="4555785" y="3348302"/>
            <a:ext cx="14225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0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ÁLISE FINANCEIRA DO PROJETO</a:t>
            </a:r>
            <a:endParaRPr lang="pt-BR" sz="1050" b="1" dirty="0"/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0937C99F-7087-4FB0-98D0-DB2D96F1FEDC}"/>
              </a:ext>
            </a:extLst>
          </p:cNvPr>
          <p:cNvSpPr txBox="1"/>
          <p:nvPr/>
        </p:nvSpPr>
        <p:spPr>
          <a:xfrm>
            <a:off x="5920599" y="1623612"/>
            <a:ext cx="9632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R$ </a:t>
            </a:r>
            <a:r>
              <a:rPr lang="pt-BR" sz="105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81.8 </a:t>
            </a: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607DFE4D-0CF2-4D5C-B238-F45ED141D961}"/>
              </a:ext>
            </a:extLst>
          </p:cNvPr>
          <p:cNvSpPr txBox="1"/>
          <p:nvPr/>
        </p:nvSpPr>
        <p:spPr>
          <a:xfrm>
            <a:off x="6129472" y="2192259"/>
            <a:ext cx="963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BE3D5"/>
                </a:highligh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8%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3EF244A-989A-41BE-8A10-D7D81C97A499}"/>
              </a:ext>
            </a:extLst>
          </p:cNvPr>
          <p:cNvSpPr txBox="1"/>
          <p:nvPr/>
        </p:nvSpPr>
        <p:spPr>
          <a:xfrm>
            <a:off x="5256676" y="2660551"/>
            <a:ext cx="190891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Custo anual do processo atual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6DEB75ED-3F21-47BC-B782-280AAF0E5CF5}"/>
              </a:ext>
            </a:extLst>
          </p:cNvPr>
          <p:cNvSpPr/>
          <p:nvPr/>
        </p:nvSpPr>
        <p:spPr>
          <a:xfrm>
            <a:off x="4419962" y="2669974"/>
            <a:ext cx="62989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pt-BR" sz="7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GENDA: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F6B2B1DC-FE35-4C3A-B13C-3F9547476AAB}"/>
              </a:ext>
            </a:extLst>
          </p:cNvPr>
          <p:cNvSpPr txBox="1"/>
          <p:nvPr/>
        </p:nvSpPr>
        <p:spPr>
          <a:xfrm>
            <a:off x="6915625" y="2660551"/>
            <a:ext cx="73547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Meta mensal</a:t>
            </a: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2174E688-2A04-43BC-832C-2A4850D8F0B6}"/>
              </a:ext>
            </a:extLst>
          </p:cNvPr>
          <p:cNvSpPr/>
          <p:nvPr/>
        </p:nvSpPr>
        <p:spPr>
          <a:xfrm>
            <a:off x="6680185" y="2695359"/>
            <a:ext cx="265814" cy="130438"/>
          </a:xfrm>
          <a:prstGeom prst="rect">
            <a:avLst/>
          </a:prstGeom>
          <a:solidFill>
            <a:srgbClr val="BFBFBF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2709AE52-0BAE-4513-AE9E-4D222DF8A151}"/>
              </a:ext>
            </a:extLst>
          </p:cNvPr>
          <p:cNvSpPr/>
          <p:nvPr/>
        </p:nvSpPr>
        <p:spPr>
          <a:xfrm>
            <a:off x="5018289" y="2693038"/>
            <a:ext cx="265814" cy="130438"/>
          </a:xfrm>
          <a:prstGeom prst="rect">
            <a:avLst/>
          </a:prstGeom>
          <a:solidFill>
            <a:srgbClr val="9AAFCE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3" name="Straight Connector 43">
            <a:extLst>
              <a:ext uri="{FF2B5EF4-FFF2-40B4-BE49-F238E27FC236}">
                <a16:creationId xmlns:a16="http://schemas.microsoft.com/office/drawing/2014/main" id="{272E2B38-0DD7-443D-B894-6EC5DD4C6D5A}"/>
              </a:ext>
            </a:extLst>
          </p:cNvPr>
          <p:cNvCxnSpPr>
            <a:cxnSpLocks/>
          </p:cNvCxnSpPr>
          <p:nvPr/>
        </p:nvCxnSpPr>
        <p:spPr>
          <a:xfrm>
            <a:off x="4487187" y="2898420"/>
            <a:ext cx="7557779" cy="0"/>
          </a:xfrm>
          <a:prstGeom prst="line">
            <a:avLst/>
          </a:prstGeom>
          <a:ln w="28575">
            <a:solidFill>
              <a:srgbClr val="F4B1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F127FB0D-74F6-4ED0-A165-196997C310E3}"/>
              </a:ext>
            </a:extLst>
          </p:cNvPr>
          <p:cNvSpPr txBox="1"/>
          <p:nvPr/>
        </p:nvSpPr>
        <p:spPr>
          <a:xfrm>
            <a:off x="7979315" y="2654585"/>
            <a:ext cx="223725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Representatividade do processo na meta mensal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40646488-1C4B-4498-B25A-37A2CFBFDC65}"/>
              </a:ext>
            </a:extLst>
          </p:cNvPr>
          <p:cNvSpPr/>
          <p:nvPr/>
        </p:nvSpPr>
        <p:spPr>
          <a:xfrm>
            <a:off x="7740928" y="2687072"/>
            <a:ext cx="265814" cy="130438"/>
          </a:xfrm>
          <a:prstGeom prst="rect">
            <a:avLst/>
          </a:prstGeom>
          <a:solidFill>
            <a:srgbClr val="FBE3D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003519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razil's Leading Fintech"/>
          <p:cNvSpPr txBox="1"/>
          <p:nvPr/>
        </p:nvSpPr>
        <p:spPr>
          <a:xfrm>
            <a:off x="992386" y="2611898"/>
            <a:ext cx="3300584" cy="789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t">
            <a:spAutoFit/>
          </a:bodyPr>
          <a:lstStyle/>
          <a:p>
            <a:pPr algn="l"/>
            <a:r>
              <a:rPr lang="pt-BR" sz="4800" b="1">
                <a:latin typeface="Segoe UI"/>
                <a:cs typeface="Segoe UI"/>
              </a:rPr>
              <a:t>OBRIGADO</a:t>
            </a:r>
            <a:endParaRPr lang="pt-BR" sz="48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logo_INC_01.png" descr="logo_INC_01.png">
            <a:extLst>
              <a:ext uri="{FF2B5EF4-FFF2-40B4-BE49-F238E27FC236}">
                <a16:creationId xmlns:a16="http://schemas.microsoft.com/office/drawing/2014/main" id="{4C467431-94B1-3447-897A-20701B58F58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137" t="32396" r="21251" b="29276"/>
          <a:stretch/>
        </p:blipFill>
        <p:spPr>
          <a:xfrm>
            <a:off x="992386" y="4983353"/>
            <a:ext cx="1774251" cy="44704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003605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suRfU3dbpaFsbo1zDY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2f33ab3-32b5-4ec8-9524-8d8d8d4042a1">
      <UserInfo>
        <DisplayName>Priscila Pinheiro</DisplayName>
        <AccountId>5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A3D53BB64FDE94BB669EF954DFAC4E9" ma:contentTypeVersion="11" ma:contentTypeDescription="Crie um novo documento." ma:contentTypeScope="" ma:versionID="c808290f5fb5c885647e21650340e61f">
  <xsd:schema xmlns:xsd="http://www.w3.org/2001/XMLSchema" xmlns:xs="http://www.w3.org/2001/XMLSchema" xmlns:p="http://schemas.microsoft.com/office/2006/metadata/properties" xmlns:ns2="14fb5f25-ff94-414a-acc2-9b87060aa1ab" xmlns:ns3="c2f33ab3-32b5-4ec8-9524-8d8d8d4042a1" targetNamespace="http://schemas.microsoft.com/office/2006/metadata/properties" ma:root="true" ma:fieldsID="70d47ff1848a85bd80dfc0fc77629483" ns2:_="" ns3:_="">
    <xsd:import namespace="14fb5f25-ff94-414a-acc2-9b87060aa1ab"/>
    <xsd:import namespace="c2f33ab3-32b5-4ec8-9524-8d8d8d4042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b5f25-ff94-414a-acc2-9b87060aa1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33ab3-32b5-4ec8-9524-8d8d8d4042a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F21D95-3B65-4444-95C7-412E4DE17F2D}">
  <ds:schemaRefs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14fb5f25-ff94-414a-acc2-9b87060aa1ab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c2f33ab3-32b5-4ec8-9524-8d8d8d4042a1"/>
  </ds:schemaRefs>
</ds:datastoreItem>
</file>

<file path=customXml/itemProps2.xml><?xml version="1.0" encoding="utf-8"?>
<ds:datastoreItem xmlns:ds="http://schemas.openxmlformats.org/officeDocument/2006/customXml" ds:itemID="{695F0251-5884-49DD-A585-01768FD514D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2E56FE-144B-4B2D-BAE4-87DBAD679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fb5f25-ff94-414a-acc2-9b87060aa1ab"/>
    <ds:schemaRef ds:uri="c2f33ab3-32b5-4ec8-9524-8d8d8d4042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18</TotalTime>
  <Words>723</Words>
  <Application>Microsoft Office PowerPoint</Application>
  <PresentationFormat>Widescreen</PresentationFormat>
  <Paragraphs>168</Paragraphs>
  <Slides>4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Roboto light</vt:lpstr>
      <vt:lpstr>Segoe UI</vt:lpstr>
      <vt:lpstr>Wingdings</vt:lpstr>
      <vt:lpstr>Tema do Office</vt:lpstr>
      <vt:lpstr>think-cell Slide</vt:lpstr>
      <vt:lpstr>Apresentação do PowerPoint</vt:lpstr>
      <vt:lpstr>RESUMO EXECUTIVO</vt:lpstr>
      <vt:lpstr>E032 - TELEFONIA - Atendimento de chamados de gravação de telefonia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haís Gondim</dc:creator>
  <cp:lastModifiedBy>Tereza Mendes</cp:lastModifiedBy>
  <cp:revision>8</cp:revision>
  <dcterms:created xsi:type="dcterms:W3CDTF">2020-01-27T19:20:50Z</dcterms:created>
  <dcterms:modified xsi:type="dcterms:W3CDTF">2021-01-30T23:1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3D53BB64FDE94BB669EF954DFAC4E9</vt:lpwstr>
  </property>
</Properties>
</file>